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147376774" r:id="rId2"/>
    <p:sldId id="2147376778" r:id="rId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1" d="100"/>
          <a:sy n="61" d="100"/>
        </p:scale>
        <p:origin x="88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0DAB13-C271-47AE-A7D4-5E60B6079E8A}" type="datetimeFigureOut">
              <a:rPr lang="hu-HU" smtClean="0"/>
              <a:t>2023. 03. 14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0DA3C3-ABDB-4BA0-85D1-6B2B6701AE1A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852566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288760" y="5108084"/>
            <a:ext cx="6208294" cy="5106215"/>
          </a:xfrm>
        </p:spPr>
        <p:txBody>
          <a:bodyPr/>
          <a:lstStyle/>
          <a:p>
            <a:pPr>
              <a:spcAft>
                <a:spcPts val="603"/>
              </a:spcAft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F7B9E9-6F9D-4999-8E35-8BAD09A8460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ictly Confidentia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18329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92EBD8-E016-4F91-B7FF-030FA20021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AEC309-B73F-43B1-AB77-E7DFE6F0195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A75057-92C8-4D74-8BE2-54D8C7ADD8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1A92E-A7ED-4BFE-9726-E76C9F12E1A6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8B7C92-EAC7-4AD3-9D95-0147EECDD2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0D6592-536A-44A8-940F-AB4ED9B1FF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4068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A3736C-A9D8-42C3-B0E8-09B769FB7E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D2567B3-DDA2-448C-A67D-552F90B40B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E46D0A-7B85-4B45-8DFE-478FA14852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1A92E-A7ED-4BFE-9726-E76C9F12E1A6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27303F-89FD-471F-98E9-864F1304B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27295D-73BC-48BD-A2B9-E494506F4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32679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F5FF806-72D9-49F6-A6C7-E625939C860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721329E-0EBB-4533-9F9F-A1F40464F1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E7E0C3-30BC-42E0-B2D0-9E1C7AF69E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1A92E-A7ED-4BFE-9726-E76C9F12E1A6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13C7A6-689E-4A5E-A4AE-B7E1BF634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BDC1EA-48EC-4F9E-9F03-78FBEBD64E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38650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02C5848-CA42-4627-9BE4-2C1A78A4D5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7766709"/>
              </p:ext>
            </p:ext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02C5848-CA42-4627-9BE4-2C1A78A4D5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5C92544-7CBD-4A49-997F-DD2B62D9F6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34" y="430442"/>
            <a:ext cx="1173791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Titelmasterformat durch Klicken bearbeiten</a:t>
            </a:r>
            <a:endParaRPr lang="en-US" dirty="0"/>
          </a:p>
        </p:txBody>
      </p:sp>
      <p:sp>
        <p:nvSpPr>
          <p:cNvPr id="4" name="Textfeld 13">
            <a:extLst>
              <a:ext uri="{FF2B5EF4-FFF2-40B4-BE49-F238E27FC236}">
                <a16:creationId xmlns:a16="http://schemas.microsoft.com/office/drawing/2014/main" id="{65464030-A385-428D-8DF1-26D75A03D65C}"/>
              </a:ext>
            </a:extLst>
          </p:cNvPr>
          <p:cNvSpPr txBox="1"/>
          <p:nvPr userDrawn="1"/>
        </p:nvSpPr>
        <p:spPr>
          <a:xfrm>
            <a:off x="5987785" y="6451321"/>
            <a:ext cx="21643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en-US" sz="1200">
                <a:solidFill>
                  <a:srgbClr val="C50022"/>
                </a:solidFill>
              </a:rPr>
              <a:t>     </a:t>
            </a:r>
            <a:endParaRPr lang="en-US" sz="1800" dirty="0">
              <a:solidFill>
                <a:srgbClr val="C50022"/>
              </a:solidFill>
            </a:endParaRPr>
          </a:p>
        </p:txBody>
      </p:sp>
      <p:sp>
        <p:nvSpPr>
          <p:cNvPr id="5" name="Datumsplatzhalter 5">
            <a:extLst>
              <a:ext uri="{FF2B5EF4-FFF2-40B4-BE49-F238E27FC236}">
                <a16:creationId xmlns:a16="http://schemas.microsoft.com/office/drawing/2014/main" id="{59A4BCB6-06DB-4722-B535-191C8D3CFC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849" y="6516409"/>
            <a:ext cx="468187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E683616A-1B43-4762-BA3D-9AAA2657DEE2}" type="datetime1">
              <a:rPr lang="en-US" smtClean="0"/>
              <a:t>3/14/2023</a:t>
            </a:fld>
            <a:endParaRPr lang="en-US" dirty="0"/>
          </a:p>
        </p:txBody>
      </p:sp>
      <p:sp>
        <p:nvSpPr>
          <p:cNvPr id="6" name="Fußzeilenplatzhalter 6">
            <a:extLst>
              <a:ext uri="{FF2B5EF4-FFF2-40B4-BE49-F238E27FC236}">
                <a16:creationId xmlns:a16="http://schemas.microsoft.com/office/drawing/2014/main" id="{C9D8C653-082A-4547-8F61-15A68369B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180" y="6516113"/>
            <a:ext cx="3364707" cy="167933"/>
          </a:xfrm>
          <a:prstGeom prst="rect">
            <a:avLst/>
          </a:prstGeom>
        </p:spPr>
        <p:txBody>
          <a:bodyPr lIns="0" tIns="0" rIns="0" bIns="0"/>
          <a:lstStyle>
            <a:lvl1pPr eaLnBrk="1">
              <a:defRPr sz="900"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Foliennummernplatzhalter 7">
            <a:extLst>
              <a:ext uri="{FF2B5EF4-FFF2-40B4-BE49-F238E27FC236}">
                <a16:creationId xmlns:a16="http://schemas.microsoft.com/office/drawing/2014/main" id="{AC016C49-66EA-43A4-8374-8A27282E9B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44" y="6514798"/>
            <a:ext cx="38426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404226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554008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A0521059-6C76-4B1E-8B67-FC8F50128F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34" y="430442"/>
            <a:ext cx="11737914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Titelmasterformat durch Klicken bearbeiten</a:t>
            </a:r>
            <a:endParaRPr lang="en-US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5464030-A385-428D-8DF1-26D75A03D65C}"/>
              </a:ext>
            </a:extLst>
          </p:cNvPr>
          <p:cNvSpPr txBox="1"/>
          <p:nvPr userDrawn="1"/>
        </p:nvSpPr>
        <p:spPr>
          <a:xfrm>
            <a:off x="5987785" y="6451321"/>
            <a:ext cx="21643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en-US" sz="1200">
                <a:solidFill>
                  <a:srgbClr val="C50022"/>
                </a:solidFill>
              </a:rPr>
              <a:t>     </a:t>
            </a:r>
            <a:endParaRPr lang="en-US" sz="1800" dirty="0">
              <a:solidFill>
                <a:srgbClr val="C50022"/>
              </a:solidFill>
            </a:endParaRPr>
          </a:p>
        </p:txBody>
      </p:sp>
      <p:sp>
        <p:nvSpPr>
          <p:cNvPr id="8" name="Datumsplatzhalter 5">
            <a:extLst>
              <a:ext uri="{FF2B5EF4-FFF2-40B4-BE49-F238E27FC236}">
                <a16:creationId xmlns:a16="http://schemas.microsoft.com/office/drawing/2014/main" id="{59A4BCB6-06DB-4722-B535-191C8D3CFC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849" y="6516409"/>
            <a:ext cx="468187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C1F9A3AE-93C0-4EDA-8F52-EDF04630E1B0}" type="datetime1">
              <a:rPr lang="en-US" smtClean="0"/>
              <a:t>3/14/2023</a:t>
            </a:fld>
            <a:endParaRPr lang="en-US" dirty="0"/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C9D8C653-082A-4547-8F61-15A68369B9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179" y="6516111"/>
            <a:ext cx="3364707" cy="167933"/>
          </a:xfrm>
          <a:prstGeom prst="rect">
            <a:avLst/>
          </a:prstGeom>
        </p:spPr>
        <p:txBody>
          <a:bodyPr lIns="0" tIns="0" rIns="0" bIns="0"/>
          <a:lstStyle>
            <a:lvl1pPr eaLnBrk="1">
              <a:defRPr sz="900"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Foliennummernplatzhalter 7">
            <a:extLst>
              <a:ext uri="{FF2B5EF4-FFF2-40B4-BE49-F238E27FC236}">
                <a16:creationId xmlns:a16="http://schemas.microsoft.com/office/drawing/2014/main" id="{AC016C49-66EA-43A4-8374-8A27282E9B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43" y="6514798"/>
            <a:ext cx="38426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564653"/>
      </p:ext>
    </p:extLst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919B59-65DF-4E56-8B97-7E015BDA80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ED2C69-2338-40FD-B7C0-BC0642611D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8FD78D-FEFB-42A7-98CD-4F0CBFDC80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1A92E-A7ED-4BFE-9726-E76C9F12E1A6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DB242A-3318-4356-A93C-851222910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66FA83-4490-4529-873A-33C9D82F8D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75421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BC730B-EAB2-4B83-9124-90BB5F3B2E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075244-6AA0-44B9-B7C4-57B6B811F4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297CBE-A0A1-404B-B61D-3548471B8E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1A92E-A7ED-4BFE-9726-E76C9F12E1A6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1434B5-CC4C-4E64-A4F1-6D578F7831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704628-DD98-4D9F-B8E7-41A059CB8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44138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5450B2-21C7-4DE2-A5D2-7825C915FA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D603E8-7A35-46BA-A77D-FE97CC3370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FB12D9-F72D-43A1-A94C-FEDE4DBFF9C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2402DB-95B2-44ED-AABB-8A9EAEFE0C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1A92E-A7ED-4BFE-9726-E76C9F12E1A6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787538-4AA9-411B-A8DC-B86E65ABE0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92C2D8-A3BB-4429-AABD-A44F2FD70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04361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17B369-D801-4289-AF31-8A538ECF6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8E991B-79B2-41B0-93BF-461B347C82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A948267-6DBC-4817-B984-014863A484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838DEC-0C48-411C-888C-780EDCE43A8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0EA13B4-965C-4678-9021-E602534FAA4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237986F-88E3-4D3E-AB0F-74D54AC09D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1A92E-A7ED-4BFE-9726-E76C9F12E1A6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D166F32-0442-4883-AA56-EDE79904C9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F3D3FAF-BC0E-4B4B-8EB0-B3EBBB3E86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62081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BFC1D-4B90-4C06-8139-FFE863490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64E44C7-BFE2-4411-9BEF-6A6AE56EDA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1A92E-A7ED-4BFE-9726-E76C9F12E1A6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EC4C94-01C7-43CD-A8AF-48728AE3AF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963D53C-70D5-42D1-817F-8E82E45EE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25069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7E999D8-9BB2-472C-B537-0E118CDC30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1A92E-A7ED-4BFE-9726-E76C9F12E1A6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C02B95B-A08D-4B08-B06B-7E2D766C71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F2BF0D-A63D-48D1-9FBA-AE81BEE3AC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4956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A24584-045D-4233-95C2-303FAC685B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802AD2-71EF-47D7-88D8-C111F4F024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8355F4-DF93-4EFC-BB54-1ED111D67D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8CD740B-7454-4E6D-8E0C-F827A03BAD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1A92E-A7ED-4BFE-9726-E76C9F12E1A6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F16B1E1-493E-45DE-874E-7CD8F0DC10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808AFD-FC15-4AB0-9B82-5B831809D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91755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DF17C2-0D3E-4FF8-A590-3499FC2ED3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EFB8491-C30F-435D-91B6-78A7D87B062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hu-HU"/>
              <a:t>Kép beszúrásához kattintson az ikonra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22F0B0-27B7-44A6-878F-886829EA95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5CBBF7-EB79-4A82-8961-E47AE535F5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B1A92E-A7ED-4BFE-9726-E76C9F12E1A6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03DC05-7426-416D-AB95-E5E277171F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304CA5-1FFD-4E8A-AA20-182916DFD4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490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047D2C5-7EA4-4AF1-ABE7-C69F348870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74DD4E-3C53-4CA2-A9AA-0674B21BE6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BBFECA-CE87-4207-8710-3B18EBAC36F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B1A92E-A7ED-4BFE-9726-E76C9F12E1A6}" type="datetimeFigureOut">
              <a:rPr lang="de-DE" smtClean="0"/>
              <a:t>14.03.2023</a:t>
            </a:fld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8C6B90-7ED3-4B32-AAA8-5386D286C7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5D9165-DD4D-4C29-B796-88F565A105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3A9367-73CE-4CBB-AB25-8D0A2C30D947}" type="slidenum">
              <a:rPr lang="de-DE" smtClean="0"/>
              <a:t>‹#›</a:t>
            </a:fld>
            <a:endParaRPr lang="de-DE"/>
          </a:p>
        </p:txBody>
      </p:sp>
      <p:sp>
        <p:nvSpPr>
          <p:cNvPr id="7" name="MSIPCMContentMarking" descr="{&quot;HashCode&quot;:-1038031055,&quot;Placement&quot;:&quot;Footer&quot;,&quot;Top&quot;:520.3781,&quot;Left&quot;:452.558044,&quot;SlideWidth&quot;:960,&quot;SlideHeight&quot;:540}">
            <a:extLst>
              <a:ext uri="{FF2B5EF4-FFF2-40B4-BE49-F238E27FC236}">
                <a16:creationId xmlns:a16="http://schemas.microsoft.com/office/drawing/2014/main" id="{944BDE2D-5443-92EF-C045-F60CB34CE9A8}"/>
              </a:ext>
            </a:extLst>
          </p:cNvPr>
          <p:cNvSpPr txBox="1"/>
          <p:nvPr userDrawn="1"/>
        </p:nvSpPr>
        <p:spPr>
          <a:xfrm>
            <a:off x="5747487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hu-HU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1754268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4">
            <a:extLst>
              <a:ext uri="{FF2B5EF4-FFF2-40B4-BE49-F238E27FC236}">
                <a16:creationId xmlns:a16="http://schemas.microsoft.com/office/drawing/2014/main" id="{AB3F520C-DEDD-4299-8139-FFAE8927977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" y="1"/>
            <a:ext cx="12191196" cy="1256094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AAAD4F6A-2FD8-42AA-8884-AF1A3BF192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>
                <a:solidFill>
                  <a:schemeClr val="bg1"/>
                </a:solidFill>
              </a:rPr>
              <a:t>BASF almavédelmi technológia 2023</a:t>
            </a:r>
          </a:p>
        </p:txBody>
      </p:sp>
      <p:pic>
        <p:nvPicPr>
          <p:cNvPr id="4" name="Kép 3">
            <a:extLst>
              <a:ext uri="{FF2B5EF4-FFF2-40B4-BE49-F238E27FC236}">
                <a16:creationId xmlns:a16="http://schemas.microsoft.com/office/drawing/2014/main" id="{844FFCA7-9993-49DA-A082-19AE1F3C67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334" y="1443601"/>
            <a:ext cx="10972799" cy="4805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0152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Kép 10">
            <a:extLst>
              <a:ext uri="{FF2B5EF4-FFF2-40B4-BE49-F238E27FC236}">
                <a16:creationId xmlns:a16="http://schemas.microsoft.com/office/drawing/2014/main" id="{D00747D4-9286-D8AC-E127-71EA8CABB19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34" y="1227146"/>
            <a:ext cx="8946815" cy="5319131"/>
          </a:xfrm>
          <a:prstGeom prst="rect">
            <a:avLst/>
          </a:prstGeom>
        </p:spPr>
      </p:pic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47C96B0-B646-4A4E-BC3B-DB01D176B2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47C96B0-B646-4A4E-BC3B-DB01D176B2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612994B6-6C3E-4812-8753-29282566DE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40BCA59-A780-4E18-AC32-8A89D082B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34" y="430442"/>
            <a:ext cx="11737914" cy="853200"/>
          </a:xfrm>
        </p:spPr>
        <p:txBody>
          <a:bodyPr/>
          <a:lstStyle/>
          <a:p>
            <a:br>
              <a:rPr lang="en-US" dirty="0"/>
            </a:b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C7CE3A84-6BC7-41B2-B8D6-7FB533D9F1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EA1D04-CA53-4DE3-84A8-2B63E41036C9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Cím 9">
            <a:extLst>
              <a:ext uri="{FF2B5EF4-FFF2-40B4-BE49-F238E27FC236}">
                <a16:creationId xmlns:a16="http://schemas.microsoft.com/office/drawing/2014/main" id="{6FE0A8A2-703C-7657-EEE0-3415E87A0E1D}"/>
              </a:ext>
            </a:extLst>
          </p:cNvPr>
          <p:cNvSpPr txBox="1">
            <a:spLocks/>
          </p:cNvSpPr>
          <p:nvPr/>
        </p:nvSpPr>
        <p:spPr>
          <a:xfrm>
            <a:off x="295834" y="441010"/>
            <a:ext cx="11442079" cy="853200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ASF meggyvédelmi technológia 2023</a:t>
            </a:r>
          </a:p>
        </p:txBody>
      </p:sp>
      <p:grpSp>
        <p:nvGrpSpPr>
          <p:cNvPr id="7" name="Gruppieren 29">
            <a:extLst>
              <a:ext uri="{FF2B5EF4-FFF2-40B4-BE49-F238E27FC236}">
                <a16:creationId xmlns:a16="http://schemas.microsoft.com/office/drawing/2014/main" id="{862C901D-818C-C488-C5F7-99C9A8CA6991}"/>
              </a:ext>
            </a:extLst>
          </p:cNvPr>
          <p:cNvGrpSpPr/>
          <p:nvPr/>
        </p:nvGrpSpPr>
        <p:grpSpPr>
          <a:xfrm>
            <a:off x="9598859" y="6092575"/>
            <a:ext cx="2592337" cy="540000"/>
            <a:chOff x="9597610" y="6092575"/>
            <a:chExt cx="2592000" cy="540000"/>
          </a:xfrm>
          <a:solidFill>
            <a:srgbClr val="65AC1E"/>
          </a:solidFill>
        </p:grpSpPr>
        <p:sp>
          <p:nvSpPr>
            <p:cNvPr id="8" name="Rechteck 32">
              <a:extLst>
                <a:ext uri="{FF2B5EF4-FFF2-40B4-BE49-F238E27FC236}">
                  <a16:creationId xmlns:a16="http://schemas.microsoft.com/office/drawing/2014/main" id="{8144BEEE-D4DF-203E-C916-AB9B4E4E71F8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0" name="Grafik 33">
              <a:extLst>
                <a:ext uri="{FF2B5EF4-FFF2-40B4-BE49-F238E27FC236}">
                  <a16:creationId xmlns:a16="http://schemas.microsoft.com/office/drawing/2014/main" id="{51C9D946-8280-6523-6FFD-6FE263F075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32611" y="6228712"/>
              <a:ext cx="808391" cy="292882"/>
            </a:xfrm>
            <a:prstGeom prst="rect">
              <a:avLst/>
            </a:prstGeom>
            <a:grpFill/>
          </p:spPr>
        </p:pic>
      </p:grpSp>
      <p:grpSp>
        <p:nvGrpSpPr>
          <p:cNvPr id="15" name="Gruppieren 79">
            <a:extLst>
              <a:ext uri="{FF2B5EF4-FFF2-40B4-BE49-F238E27FC236}">
                <a16:creationId xmlns:a16="http://schemas.microsoft.com/office/drawing/2014/main" id="{0BEA3F2A-EE00-47A5-A0A7-824AA4998651}"/>
              </a:ext>
            </a:extLst>
          </p:cNvPr>
          <p:cNvGrpSpPr/>
          <p:nvPr/>
        </p:nvGrpSpPr>
        <p:grpSpPr>
          <a:xfrm rot="4048430">
            <a:off x="8896860" y="-1106683"/>
            <a:ext cx="4837628" cy="4799066"/>
            <a:chOff x="9008608" y="-748411"/>
            <a:chExt cx="2692441" cy="2692441"/>
          </a:xfrm>
        </p:grpSpPr>
        <p:sp>
          <p:nvSpPr>
            <p:cNvPr id="17" name="Bogen 80">
              <a:extLst>
                <a:ext uri="{FF2B5EF4-FFF2-40B4-BE49-F238E27FC236}">
                  <a16:creationId xmlns:a16="http://schemas.microsoft.com/office/drawing/2014/main" id="{6305A1A1-A950-40EE-8E22-FF9463380A51}"/>
                </a:ext>
              </a:extLst>
            </p:cNvPr>
            <p:cNvSpPr/>
            <p:nvPr/>
          </p:nvSpPr>
          <p:spPr>
            <a:xfrm rot="12868449">
              <a:off x="9716383" y="-40625"/>
              <a:ext cx="1276895" cy="1276895"/>
            </a:xfrm>
            <a:custGeom>
              <a:avLst>
                <a:gd name="f12" fmla="val 13"/>
                <a:gd name="f13" fmla="val 316"/>
              </a:avLst>
              <a:gdLst>
                <a:gd name="f2" fmla="val 10800000"/>
                <a:gd name="f3" fmla="val 5400000"/>
                <a:gd name="f4" fmla="val 16200000"/>
                <a:gd name="f5" fmla="val 180"/>
                <a:gd name="f6" fmla="val w"/>
                <a:gd name="f7" fmla="val h"/>
                <a:gd name="f8" fmla="val ss"/>
                <a:gd name="f9" fmla="val 0"/>
                <a:gd name="f10" fmla="*/ 5419351 1 1725033"/>
                <a:gd name="f11" fmla="+- 0 0 1"/>
                <a:gd name="f12" fmla="val 13"/>
                <a:gd name="f13" fmla="val 316"/>
                <a:gd name="f14" fmla="+- 0 0 -103"/>
                <a:gd name="f15" fmla="+- 0 0 -164"/>
                <a:gd name="f16" fmla="+- 0 0 -226"/>
                <a:gd name="f17" fmla="abs f6"/>
                <a:gd name="f18" fmla="abs f7"/>
                <a:gd name="f19" fmla="abs f8"/>
                <a:gd name="f20" fmla="val f9"/>
                <a:gd name="f21" fmla="+- 0 0 f12"/>
                <a:gd name="f22" fmla="+- 0 0 f13"/>
                <a:gd name="f23" fmla="*/ f14 f2 1"/>
                <a:gd name="f24" fmla="*/ f15 f2 1"/>
                <a:gd name="f25" fmla="*/ f16 f2 1"/>
                <a:gd name="f26" fmla="?: f17 f6 1"/>
                <a:gd name="f27" fmla="?: f18 f7 1"/>
                <a:gd name="f28" fmla="?: f19 f8 1"/>
                <a:gd name="f29" fmla="*/ f21 f2 1"/>
                <a:gd name="f30" fmla="*/ f22 f2 1"/>
                <a:gd name="f31" fmla="*/ f23 1 f5"/>
                <a:gd name="f32" fmla="*/ f24 1 f5"/>
                <a:gd name="f33" fmla="*/ f25 1 f5"/>
                <a:gd name="f34" fmla="*/ f26 1 21600"/>
                <a:gd name="f35" fmla="*/ f27 1 21600"/>
                <a:gd name="f36" fmla="*/ 21600 f26 1"/>
                <a:gd name="f37" fmla="*/ 21600 f27 1"/>
                <a:gd name="f38" fmla="*/ f29 1 f5"/>
                <a:gd name="f39" fmla="*/ f30 1 f5"/>
                <a:gd name="f40" fmla="+- f31 0 f3"/>
                <a:gd name="f41" fmla="+- f32 0 f3"/>
                <a:gd name="f42" fmla="+- f33 0 f3"/>
                <a:gd name="f43" fmla="min f35 f34"/>
                <a:gd name="f44" fmla="*/ f36 1 f28"/>
                <a:gd name="f45" fmla="*/ f37 1 f28"/>
                <a:gd name="f46" fmla="+- f38 0 f3"/>
                <a:gd name="f47" fmla="+- f39 0 f3"/>
                <a:gd name="f48" fmla="val f44"/>
                <a:gd name="f49" fmla="val f45"/>
                <a:gd name="f50" fmla="+- 0 0 f46"/>
                <a:gd name="f51" fmla="+- 0 0 f47"/>
                <a:gd name="f52" fmla="+- f49 0 f20"/>
                <a:gd name="f53" fmla="+- f48 0 f20"/>
                <a:gd name="f54" fmla="val f50"/>
                <a:gd name="f55" fmla="val f51"/>
                <a:gd name="f56" fmla="*/ f52 1 2"/>
                <a:gd name="f57" fmla="*/ f53 1 2"/>
                <a:gd name="f58" fmla="+- f55 0 f54"/>
                <a:gd name="f59" fmla="+- f54 f3 0"/>
                <a:gd name="f60" fmla="+- f55 f3 0"/>
                <a:gd name="f61" fmla="+- 21600000 0 f54"/>
                <a:gd name="f62" fmla="+- f3 0 f54"/>
                <a:gd name="f63" fmla="+- 27000000 0 f54"/>
                <a:gd name="f64" fmla="+- f2 0 f54"/>
                <a:gd name="f65" fmla="+- 32400000 0 f54"/>
                <a:gd name="f66" fmla="+- f4 0 f54"/>
                <a:gd name="f67" fmla="+- 37800000 0 f54"/>
                <a:gd name="f68" fmla="+- f20 f56 0"/>
                <a:gd name="f69" fmla="+- f20 f57 0"/>
                <a:gd name="f70" fmla="+- f58 21600000 0"/>
                <a:gd name="f71" fmla="*/ f59 f10 1"/>
                <a:gd name="f72" fmla="*/ f60 f10 1"/>
                <a:gd name="f73" fmla="?: f62 f62 f63"/>
                <a:gd name="f74" fmla="?: f64 f64 f65"/>
                <a:gd name="f75" fmla="?: f66 f66 f67"/>
                <a:gd name="f76" fmla="*/ f57 f43 1"/>
                <a:gd name="f77" fmla="*/ f56 f43 1"/>
                <a:gd name="f78" fmla="?: f58 f58 f70"/>
                <a:gd name="f79" fmla="*/ f71 1 f2"/>
                <a:gd name="f80" fmla="*/ f72 1 f2"/>
                <a:gd name="f81" fmla="*/ f69 f43 1"/>
                <a:gd name="f82" fmla="*/ f68 f43 1"/>
                <a:gd name="f83" fmla="+- 0 0 f79"/>
                <a:gd name="f84" fmla="+- 0 0 f80"/>
                <a:gd name="f85" fmla="+- f78 0 f61"/>
                <a:gd name="f86" fmla="+- f78 0 f73"/>
                <a:gd name="f87" fmla="+- f78 0 f74"/>
                <a:gd name="f88" fmla="+- f78 0 f75"/>
                <a:gd name="f89" fmla="+- 0 0 f83"/>
                <a:gd name="f90" fmla="+- 0 0 f84"/>
                <a:gd name="f91" fmla="*/ f89 f2 1"/>
                <a:gd name="f92" fmla="*/ f90 f2 1"/>
                <a:gd name="f93" fmla="*/ f91 1 f10"/>
                <a:gd name="f94" fmla="*/ f92 1 f10"/>
                <a:gd name="f95" fmla="+- f93 0 f3"/>
                <a:gd name="f96" fmla="+- f94 0 f3"/>
                <a:gd name="f97" fmla="sin 1 f95"/>
                <a:gd name="f98" fmla="cos 1 f95"/>
                <a:gd name="f99" fmla="sin 1 f96"/>
                <a:gd name="f100" fmla="cos 1 f96"/>
                <a:gd name="f101" fmla="+- 0 0 f97"/>
                <a:gd name="f102" fmla="+- 0 0 f98"/>
                <a:gd name="f103" fmla="+- 0 0 f99"/>
                <a:gd name="f104" fmla="+- 0 0 f100"/>
                <a:gd name="f105" fmla="+- 0 0 f101"/>
                <a:gd name="f106" fmla="+- 0 0 f102"/>
                <a:gd name="f107" fmla="+- 0 0 f103"/>
                <a:gd name="f108" fmla="+- 0 0 f104"/>
                <a:gd name="f109" fmla="*/ f105 f57 1"/>
                <a:gd name="f110" fmla="*/ f106 f56 1"/>
                <a:gd name="f111" fmla="*/ f107 f57 1"/>
                <a:gd name="f112" fmla="*/ f108 f56 1"/>
                <a:gd name="f113" fmla="+- 0 0 f110"/>
                <a:gd name="f114" fmla="+- 0 0 f109"/>
                <a:gd name="f115" fmla="+- 0 0 f112"/>
                <a:gd name="f116" fmla="+- 0 0 f111"/>
                <a:gd name="f117" fmla="+- 0 0 f113"/>
                <a:gd name="f118" fmla="+- 0 0 f114"/>
                <a:gd name="f119" fmla="+- 0 0 f115"/>
                <a:gd name="f120" fmla="+- 0 0 f116"/>
                <a:gd name="f121" fmla="at2 f117 f118"/>
                <a:gd name="f122" fmla="at2 f119 f120"/>
                <a:gd name="f123" fmla="+- f121 f3 0"/>
                <a:gd name="f124" fmla="+- f122 f3 0"/>
                <a:gd name="f125" fmla="*/ f123 f10 1"/>
                <a:gd name="f126" fmla="*/ f124 f10 1"/>
                <a:gd name="f127" fmla="*/ f125 1 f2"/>
                <a:gd name="f128" fmla="*/ f126 1 f2"/>
                <a:gd name="f129" fmla="+- 0 0 f127"/>
                <a:gd name="f130" fmla="+- 0 0 f128"/>
                <a:gd name="f131" fmla="val f129"/>
                <a:gd name="f132" fmla="val f130"/>
                <a:gd name="f133" fmla="+- 0 0 f131"/>
                <a:gd name="f134" fmla="+- 0 0 f132"/>
                <a:gd name="f135" fmla="*/ f133 f2 1"/>
                <a:gd name="f136" fmla="*/ f134 f2 1"/>
                <a:gd name="f137" fmla="*/ f135 1 f10"/>
                <a:gd name="f138" fmla="*/ f136 1 f10"/>
                <a:gd name="f139" fmla="+- f137 0 f3"/>
                <a:gd name="f140" fmla="+- f138 0 f3"/>
                <a:gd name="f141" fmla="cos 1 f139"/>
                <a:gd name="f142" fmla="sin 1 f139"/>
                <a:gd name="f143" fmla="cos 1 f140"/>
                <a:gd name="f144" fmla="sin 1 f140"/>
                <a:gd name="f145" fmla="+- 0 0 f141"/>
                <a:gd name="f146" fmla="+- 0 0 f142"/>
                <a:gd name="f147" fmla="+- 0 0 f143"/>
                <a:gd name="f148" fmla="+- 0 0 f144"/>
                <a:gd name="f149" fmla="*/ f11 f145 1"/>
                <a:gd name="f150" fmla="*/ f11 f146 1"/>
                <a:gd name="f151" fmla="*/ f11 f147 1"/>
                <a:gd name="f152" fmla="*/ f11 f148 1"/>
                <a:gd name="f153" fmla="*/ f149 f57 1"/>
                <a:gd name="f154" fmla="*/ f150 f56 1"/>
                <a:gd name="f155" fmla="*/ f151 f57 1"/>
                <a:gd name="f156" fmla="*/ f152 f56 1"/>
                <a:gd name="f157" fmla="+- f69 f153 0"/>
                <a:gd name="f158" fmla="+- f68 f154 0"/>
                <a:gd name="f159" fmla="+- f69 f155 0"/>
                <a:gd name="f160" fmla="+- f68 f156 0"/>
                <a:gd name="f161" fmla="max f157 f159"/>
                <a:gd name="f162" fmla="max f158 f160"/>
                <a:gd name="f163" fmla="min f157 f159"/>
                <a:gd name="f164" fmla="min f158 f160"/>
                <a:gd name="f165" fmla="*/ f157 f43 1"/>
                <a:gd name="f166" fmla="*/ f158 f43 1"/>
                <a:gd name="f167" fmla="*/ f159 f43 1"/>
                <a:gd name="f168" fmla="*/ f160 f43 1"/>
                <a:gd name="f169" fmla="?: f85 f48 f161"/>
                <a:gd name="f170" fmla="?: f86 f49 f162"/>
                <a:gd name="f171" fmla="?: f87 f20 f163"/>
                <a:gd name="f172" fmla="?: f88 f20 f164"/>
                <a:gd name="f173" fmla="*/ f171 f43 1"/>
                <a:gd name="f174" fmla="*/ f172 f43 1"/>
                <a:gd name="f175" fmla="*/ f169 f43 1"/>
                <a:gd name="f176" fmla="*/ f17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0">
                  <a:pos x="f165" y="f166"/>
                </a:cxn>
                <a:cxn ang="f41">
                  <a:pos x="f81" y="f82"/>
                </a:cxn>
                <a:cxn ang="f42">
                  <a:pos x="f167" y="f168"/>
                </a:cxn>
              </a:cxnLst>
              <a:rect l="f173" t="f174" r="f175" b="f176"/>
              <a:pathLst>
                <a:path stroke="0">
                  <a:moveTo>
                    <a:pt x="f165" y="f166"/>
                  </a:moveTo>
                  <a:arcTo wR="f76" hR="f77" stAng="f54" swAng="f78"/>
                  <a:lnTo>
                    <a:pt x="f81" y="f82"/>
                  </a:lnTo>
                  <a:close/>
                </a:path>
                <a:path fill="none">
                  <a:moveTo>
                    <a:pt x="f165" y="f166"/>
                  </a:moveTo>
                  <a:arcTo wR="f76" hR="f77" stAng="f54" swAng="f78"/>
                </a:path>
              </a:pathLst>
            </a:custGeom>
            <a:noFill/>
            <a:ln w="12700" cap="rnd">
              <a:solidFill>
                <a:srgbClr val="C50022"/>
              </a:solidFill>
              <a:prstDash val="solid"/>
              <a:miter/>
            </a:ln>
          </p:spPr>
          <p:txBody>
            <a:bodyPr vert="horz" wrap="square" lIns="91430" tIns="45710" rIns="91430" bIns="45710" anchor="ctr" anchorCtr="1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Bogen 81">
              <a:extLst>
                <a:ext uri="{FF2B5EF4-FFF2-40B4-BE49-F238E27FC236}">
                  <a16:creationId xmlns:a16="http://schemas.microsoft.com/office/drawing/2014/main" id="{0FAEB0BF-874C-408F-A5BD-4741FD7692E3}"/>
                </a:ext>
              </a:extLst>
            </p:cNvPr>
            <p:cNvSpPr/>
            <p:nvPr/>
          </p:nvSpPr>
          <p:spPr>
            <a:xfrm rot="12868449">
              <a:off x="9556770" y="-200246"/>
              <a:ext cx="1596121" cy="1596121"/>
            </a:xfrm>
            <a:custGeom>
              <a:avLst>
                <a:gd name="f12" fmla="val 247"/>
                <a:gd name="f13" fmla="val 144"/>
              </a:avLst>
              <a:gdLst>
                <a:gd name="f2" fmla="val 10800000"/>
                <a:gd name="f3" fmla="val 5400000"/>
                <a:gd name="f4" fmla="val 16200000"/>
                <a:gd name="f5" fmla="val 180"/>
                <a:gd name="f6" fmla="val w"/>
                <a:gd name="f7" fmla="val h"/>
                <a:gd name="f8" fmla="val ss"/>
                <a:gd name="f9" fmla="val 0"/>
                <a:gd name="f10" fmla="*/ 5419351 1 1725033"/>
                <a:gd name="f11" fmla="+- 0 0 1"/>
                <a:gd name="f12" fmla="val 247"/>
                <a:gd name="f13" fmla="val 144"/>
                <a:gd name="f14" fmla="+- 0 0 -337"/>
                <a:gd name="f15" fmla="+- 0 0 -375"/>
                <a:gd name="f16" fmla="+- 0 0 -414"/>
                <a:gd name="f17" fmla="abs f6"/>
                <a:gd name="f18" fmla="abs f7"/>
                <a:gd name="f19" fmla="abs f8"/>
                <a:gd name="f20" fmla="val f9"/>
                <a:gd name="f21" fmla="+- 0 0 f12"/>
                <a:gd name="f22" fmla="+- 0 0 f13"/>
                <a:gd name="f23" fmla="*/ f14 f2 1"/>
                <a:gd name="f24" fmla="*/ f15 f2 1"/>
                <a:gd name="f25" fmla="*/ f16 f2 1"/>
                <a:gd name="f26" fmla="?: f17 f6 1"/>
                <a:gd name="f27" fmla="?: f18 f7 1"/>
                <a:gd name="f28" fmla="?: f19 f8 1"/>
                <a:gd name="f29" fmla="*/ f21 f2 1"/>
                <a:gd name="f30" fmla="*/ f22 f2 1"/>
                <a:gd name="f31" fmla="*/ f23 1 f5"/>
                <a:gd name="f32" fmla="*/ f24 1 f5"/>
                <a:gd name="f33" fmla="*/ f25 1 f5"/>
                <a:gd name="f34" fmla="*/ f26 1 21600"/>
                <a:gd name="f35" fmla="*/ f27 1 21600"/>
                <a:gd name="f36" fmla="*/ 21600 f26 1"/>
                <a:gd name="f37" fmla="*/ 21600 f27 1"/>
                <a:gd name="f38" fmla="*/ f29 1 f5"/>
                <a:gd name="f39" fmla="*/ f30 1 f5"/>
                <a:gd name="f40" fmla="+- f31 0 f3"/>
                <a:gd name="f41" fmla="+- f32 0 f3"/>
                <a:gd name="f42" fmla="+- f33 0 f3"/>
                <a:gd name="f43" fmla="min f35 f34"/>
                <a:gd name="f44" fmla="*/ f36 1 f28"/>
                <a:gd name="f45" fmla="*/ f37 1 f28"/>
                <a:gd name="f46" fmla="+- f38 0 f3"/>
                <a:gd name="f47" fmla="+- f39 0 f3"/>
                <a:gd name="f48" fmla="val f44"/>
                <a:gd name="f49" fmla="val f45"/>
                <a:gd name="f50" fmla="+- 0 0 f46"/>
                <a:gd name="f51" fmla="+- 0 0 f47"/>
                <a:gd name="f52" fmla="+- f49 0 f20"/>
                <a:gd name="f53" fmla="+- f48 0 f20"/>
                <a:gd name="f54" fmla="val f50"/>
                <a:gd name="f55" fmla="val f51"/>
                <a:gd name="f56" fmla="*/ f52 1 2"/>
                <a:gd name="f57" fmla="*/ f53 1 2"/>
                <a:gd name="f58" fmla="+- f55 0 f54"/>
                <a:gd name="f59" fmla="+- f54 f3 0"/>
                <a:gd name="f60" fmla="+- f55 f3 0"/>
                <a:gd name="f61" fmla="+- 21600000 0 f54"/>
                <a:gd name="f62" fmla="+- f3 0 f54"/>
                <a:gd name="f63" fmla="+- 27000000 0 f54"/>
                <a:gd name="f64" fmla="+- f2 0 f54"/>
                <a:gd name="f65" fmla="+- 32400000 0 f54"/>
                <a:gd name="f66" fmla="+- f4 0 f54"/>
                <a:gd name="f67" fmla="+- 37800000 0 f54"/>
                <a:gd name="f68" fmla="+- f20 f56 0"/>
                <a:gd name="f69" fmla="+- f20 f57 0"/>
                <a:gd name="f70" fmla="+- f58 21600000 0"/>
                <a:gd name="f71" fmla="*/ f59 f10 1"/>
                <a:gd name="f72" fmla="*/ f60 f10 1"/>
                <a:gd name="f73" fmla="?: f62 f62 f63"/>
                <a:gd name="f74" fmla="?: f64 f64 f65"/>
                <a:gd name="f75" fmla="?: f66 f66 f67"/>
                <a:gd name="f76" fmla="*/ f57 f43 1"/>
                <a:gd name="f77" fmla="*/ f56 f43 1"/>
                <a:gd name="f78" fmla="?: f58 f58 f70"/>
                <a:gd name="f79" fmla="*/ f71 1 f2"/>
                <a:gd name="f80" fmla="*/ f72 1 f2"/>
                <a:gd name="f81" fmla="*/ f69 f43 1"/>
                <a:gd name="f82" fmla="*/ f68 f43 1"/>
                <a:gd name="f83" fmla="+- 0 0 f79"/>
                <a:gd name="f84" fmla="+- 0 0 f80"/>
                <a:gd name="f85" fmla="+- f78 0 f61"/>
                <a:gd name="f86" fmla="+- f78 0 f73"/>
                <a:gd name="f87" fmla="+- f78 0 f74"/>
                <a:gd name="f88" fmla="+- f78 0 f75"/>
                <a:gd name="f89" fmla="+- 0 0 f83"/>
                <a:gd name="f90" fmla="+- 0 0 f84"/>
                <a:gd name="f91" fmla="*/ f89 f2 1"/>
                <a:gd name="f92" fmla="*/ f90 f2 1"/>
                <a:gd name="f93" fmla="*/ f91 1 f10"/>
                <a:gd name="f94" fmla="*/ f92 1 f10"/>
                <a:gd name="f95" fmla="+- f93 0 f3"/>
                <a:gd name="f96" fmla="+- f94 0 f3"/>
                <a:gd name="f97" fmla="sin 1 f95"/>
                <a:gd name="f98" fmla="cos 1 f95"/>
                <a:gd name="f99" fmla="sin 1 f96"/>
                <a:gd name="f100" fmla="cos 1 f96"/>
                <a:gd name="f101" fmla="+- 0 0 f97"/>
                <a:gd name="f102" fmla="+- 0 0 f98"/>
                <a:gd name="f103" fmla="+- 0 0 f99"/>
                <a:gd name="f104" fmla="+- 0 0 f100"/>
                <a:gd name="f105" fmla="+- 0 0 f101"/>
                <a:gd name="f106" fmla="+- 0 0 f102"/>
                <a:gd name="f107" fmla="+- 0 0 f103"/>
                <a:gd name="f108" fmla="+- 0 0 f104"/>
                <a:gd name="f109" fmla="*/ f105 f57 1"/>
                <a:gd name="f110" fmla="*/ f106 f56 1"/>
                <a:gd name="f111" fmla="*/ f107 f57 1"/>
                <a:gd name="f112" fmla="*/ f108 f56 1"/>
                <a:gd name="f113" fmla="+- 0 0 f110"/>
                <a:gd name="f114" fmla="+- 0 0 f109"/>
                <a:gd name="f115" fmla="+- 0 0 f112"/>
                <a:gd name="f116" fmla="+- 0 0 f111"/>
                <a:gd name="f117" fmla="+- 0 0 f113"/>
                <a:gd name="f118" fmla="+- 0 0 f114"/>
                <a:gd name="f119" fmla="+- 0 0 f115"/>
                <a:gd name="f120" fmla="+- 0 0 f116"/>
                <a:gd name="f121" fmla="at2 f117 f118"/>
                <a:gd name="f122" fmla="at2 f119 f120"/>
                <a:gd name="f123" fmla="+- f121 f3 0"/>
                <a:gd name="f124" fmla="+- f122 f3 0"/>
                <a:gd name="f125" fmla="*/ f123 f10 1"/>
                <a:gd name="f126" fmla="*/ f124 f10 1"/>
                <a:gd name="f127" fmla="*/ f125 1 f2"/>
                <a:gd name="f128" fmla="*/ f126 1 f2"/>
                <a:gd name="f129" fmla="+- 0 0 f127"/>
                <a:gd name="f130" fmla="+- 0 0 f128"/>
                <a:gd name="f131" fmla="val f129"/>
                <a:gd name="f132" fmla="val f130"/>
                <a:gd name="f133" fmla="+- 0 0 f131"/>
                <a:gd name="f134" fmla="+- 0 0 f132"/>
                <a:gd name="f135" fmla="*/ f133 f2 1"/>
                <a:gd name="f136" fmla="*/ f134 f2 1"/>
                <a:gd name="f137" fmla="*/ f135 1 f10"/>
                <a:gd name="f138" fmla="*/ f136 1 f10"/>
                <a:gd name="f139" fmla="+- f137 0 f3"/>
                <a:gd name="f140" fmla="+- f138 0 f3"/>
                <a:gd name="f141" fmla="cos 1 f139"/>
                <a:gd name="f142" fmla="sin 1 f139"/>
                <a:gd name="f143" fmla="cos 1 f140"/>
                <a:gd name="f144" fmla="sin 1 f140"/>
                <a:gd name="f145" fmla="+- 0 0 f141"/>
                <a:gd name="f146" fmla="+- 0 0 f142"/>
                <a:gd name="f147" fmla="+- 0 0 f143"/>
                <a:gd name="f148" fmla="+- 0 0 f144"/>
                <a:gd name="f149" fmla="*/ f11 f145 1"/>
                <a:gd name="f150" fmla="*/ f11 f146 1"/>
                <a:gd name="f151" fmla="*/ f11 f147 1"/>
                <a:gd name="f152" fmla="*/ f11 f148 1"/>
                <a:gd name="f153" fmla="*/ f149 f57 1"/>
                <a:gd name="f154" fmla="*/ f150 f56 1"/>
                <a:gd name="f155" fmla="*/ f151 f57 1"/>
                <a:gd name="f156" fmla="*/ f152 f56 1"/>
                <a:gd name="f157" fmla="+- f69 f153 0"/>
                <a:gd name="f158" fmla="+- f68 f154 0"/>
                <a:gd name="f159" fmla="+- f69 f155 0"/>
                <a:gd name="f160" fmla="+- f68 f156 0"/>
                <a:gd name="f161" fmla="max f157 f159"/>
                <a:gd name="f162" fmla="max f158 f160"/>
                <a:gd name="f163" fmla="min f157 f159"/>
                <a:gd name="f164" fmla="min f158 f160"/>
                <a:gd name="f165" fmla="*/ f157 f43 1"/>
                <a:gd name="f166" fmla="*/ f158 f43 1"/>
                <a:gd name="f167" fmla="*/ f159 f43 1"/>
                <a:gd name="f168" fmla="*/ f160 f43 1"/>
                <a:gd name="f169" fmla="?: f85 f48 f161"/>
                <a:gd name="f170" fmla="?: f86 f49 f162"/>
                <a:gd name="f171" fmla="?: f87 f20 f163"/>
                <a:gd name="f172" fmla="?: f88 f20 f164"/>
                <a:gd name="f173" fmla="*/ f171 f43 1"/>
                <a:gd name="f174" fmla="*/ f172 f43 1"/>
                <a:gd name="f175" fmla="*/ f169 f43 1"/>
                <a:gd name="f176" fmla="*/ f17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0">
                  <a:pos x="f165" y="f166"/>
                </a:cxn>
                <a:cxn ang="f41">
                  <a:pos x="f81" y="f82"/>
                </a:cxn>
                <a:cxn ang="f42">
                  <a:pos x="f167" y="f168"/>
                </a:cxn>
              </a:cxnLst>
              <a:rect l="f173" t="f174" r="f175" b="f176"/>
              <a:pathLst>
                <a:path stroke="0">
                  <a:moveTo>
                    <a:pt x="f165" y="f166"/>
                  </a:moveTo>
                  <a:arcTo wR="f76" hR="f77" stAng="f54" swAng="f78"/>
                  <a:lnTo>
                    <a:pt x="f81" y="f82"/>
                  </a:lnTo>
                  <a:close/>
                </a:path>
                <a:path fill="none">
                  <a:moveTo>
                    <a:pt x="f165" y="f166"/>
                  </a:moveTo>
                  <a:arcTo wR="f76" hR="f77" stAng="f54" swAng="f78"/>
                </a:path>
              </a:pathLst>
            </a:custGeom>
            <a:noFill/>
            <a:ln w="12700" cap="rnd">
              <a:solidFill>
                <a:srgbClr val="F39500"/>
              </a:solidFill>
              <a:prstDash val="solid"/>
              <a:miter/>
            </a:ln>
          </p:spPr>
          <p:txBody>
            <a:bodyPr vert="horz" wrap="square" lIns="91430" tIns="45710" rIns="91430" bIns="45710" anchor="ctr" anchorCtr="1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Bogen 82">
              <a:extLst>
                <a:ext uri="{FF2B5EF4-FFF2-40B4-BE49-F238E27FC236}">
                  <a16:creationId xmlns:a16="http://schemas.microsoft.com/office/drawing/2014/main" id="{0FB7289F-C72B-48DF-8556-E7E6936E26C7}"/>
                </a:ext>
              </a:extLst>
            </p:cNvPr>
            <p:cNvSpPr/>
            <p:nvPr/>
          </p:nvSpPr>
          <p:spPr>
            <a:xfrm rot="12868449">
              <a:off x="9397155" y="-359864"/>
              <a:ext cx="1915347" cy="1915347"/>
            </a:xfrm>
            <a:custGeom>
              <a:avLst>
                <a:gd name="f12" fmla="val 96"/>
                <a:gd name="f13" fmla="val 18"/>
              </a:avLst>
              <a:gdLst>
                <a:gd name="f2" fmla="val 10800000"/>
                <a:gd name="f3" fmla="val 5400000"/>
                <a:gd name="f4" fmla="val 16200000"/>
                <a:gd name="f5" fmla="val 180"/>
                <a:gd name="f6" fmla="val w"/>
                <a:gd name="f7" fmla="val h"/>
                <a:gd name="f8" fmla="val ss"/>
                <a:gd name="f9" fmla="val 0"/>
                <a:gd name="f10" fmla="*/ 5419351 1 1725033"/>
                <a:gd name="f11" fmla="+- 0 0 1"/>
                <a:gd name="f12" fmla="val 96"/>
                <a:gd name="f13" fmla="val 18"/>
                <a:gd name="f14" fmla="+- 0 0 -186"/>
                <a:gd name="f15" fmla="+- 0 0 -237"/>
                <a:gd name="f16" fmla="+- 0 0 -288"/>
                <a:gd name="f17" fmla="abs f6"/>
                <a:gd name="f18" fmla="abs f7"/>
                <a:gd name="f19" fmla="abs f8"/>
                <a:gd name="f20" fmla="val f9"/>
                <a:gd name="f21" fmla="+- 0 0 f12"/>
                <a:gd name="f22" fmla="+- 0 0 f13"/>
                <a:gd name="f23" fmla="*/ f14 f2 1"/>
                <a:gd name="f24" fmla="*/ f15 f2 1"/>
                <a:gd name="f25" fmla="*/ f16 f2 1"/>
                <a:gd name="f26" fmla="?: f17 f6 1"/>
                <a:gd name="f27" fmla="?: f18 f7 1"/>
                <a:gd name="f28" fmla="?: f19 f8 1"/>
                <a:gd name="f29" fmla="*/ f21 f2 1"/>
                <a:gd name="f30" fmla="*/ f22 f2 1"/>
                <a:gd name="f31" fmla="*/ f23 1 f5"/>
                <a:gd name="f32" fmla="*/ f24 1 f5"/>
                <a:gd name="f33" fmla="*/ f25 1 f5"/>
                <a:gd name="f34" fmla="*/ f26 1 21600"/>
                <a:gd name="f35" fmla="*/ f27 1 21600"/>
                <a:gd name="f36" fmla="*/ 21600 f26 1"/>
                <a:gd name="f37" fmla="*/ 21600 f27 1"/>
                <a:gd name="f38" fmla="*/ f29 1 f5"/>
                <a:gd name="f39" fmla="*/ f30 1 f5"/>
                <a:gd name="f40" fmla="+- f31 0 f3"/>
                <a:gd name="f41" fmla="+- f32 0 f3"/>
                <a:gd name="f42" fmla="+- f33 0 f3"/>
                <a:gd name="f43" fmla="min f35 f34"/>
                <a:gd name="f44" fmla="*/ f36 1 f28"/>
                <a:gd name="f45" fmla="*/ f37 1 f28"/>
                <a:gd name="f46" fmla="+- f38 0 f3"/>
                <a:gd name="f47" fmla="+- f39 0 f3"/>
                <a:gd name="f48" fmla="val f44"/>
                <a:gd name="f49" fmla="val f45"/>
                <a:gd name="f50" fmla="+- 0 0 f46"/>
                <a:gd name="f51" fmla="+- 0 0 f47"/>
                <a:gd name="f52" fmla="+- f49 0 f20"/>
                <a:gd name="f53" fmla="+- f48 0 f20"/>
                <a:gd name="f54" fmla="val f50"/>
                <a:gd name="f55" fmla="val f51"/>
                <a:gd name="f56" fmla="*/ f52 1 2"/>
                <a:gd name="f57" fmla="*/ f53 1 2"/>
                <a:gd name="f58" fmla="+- f55 0 f54"/>
                <a:gd name="f59" fmla="+- f54 f3 0"/>
                <a:gd name="f60" fmla="+- f55 f3 0"/>
                <a:gd name="f61" fmla="+- 21600000 0 f54"/>
                <a:gd name="f62" fmla="+- f3 0 f54"/>
                <a:gd name="f63" fmla="+- 27000000 0 f54"/>
                <a:gd name="f64" fmla="+- f2 0 f54"/>
                <a:gd name="f65" fmla="+- 32400000 0 f54"/>
                <a:gd name="f66" fmla="+- f4 0 f54"/>
                <a:gd name="f67" fmla="+- 37800000 0 f54"/>
                <a:gd name="f68" fmla="+- f20 f56 0"/>
                <a:gd name="f69" fmla="+- f20 f57 0"/>
                <a:gd name="f70" fmla="+- f58 21600000 0"/>
                <a:gd name="f71" fmla="*/ f59 f10 1"/>
                <a:gd name="f72" fmla="*/ f60 f10 1"/>
                <a:gd name="f73" fmla="?: f62 f62 f63"/>
                <a:gd name="f74" fmla="?: f64 f64 f65"/>
                <a:gd name="f75" fmla="?: f66 f66 f67"/>
                <a:gd name="f76" fmla="*/ f57 f43 1"/>
                <a:gd name="f77" fmla="*/ f56 f43 1"/>
                <a:gd name="f78" fmla="?: f58 f58 f70"/>
                <a:gd name="f79" fmla="*/ f71 1 f2"/>
                <a:gd name="f80" fmla="*/ f72 1 f2"/>
                <a:gd name="f81" fmla="*/ f69 f43 1"/>
                <a:gd name="f82" fmla="*/ f68 f43 1"/>
                <a:gd name="f83" fmla="+- 0 0 f79"/>
                <a:gd name="f84" fmla="+- 0 0 f80"/>
                <a:gd name="f85" fmla="+- f78 0 f61"/>
                <a:gd name="f86" fmla="+- f78 0 f73"/>
                <a:gd name="f87" fmla="+- f78 0 f74"/>
                <a:gd name="f88" fmla="+- f78 0 f75"/>
                <a:gd name="f89" fmla="+- 0 0 f83"/>
                <a:gd name="f90" fmla="+- 0 0 f84"/>
                <a:gd name="f91" fmla="*/ f89 f2 1"/>
                <a:gd name="f92" fmla="*/ f90 f2 1"/>
                <a:gd name="f93" fmla="*/ f91 1 f10"/>
                <a:gd name="f94" fmla="*/ f92 1 f10"/>
                <a:gd name="f95" fmla="+- f93 0 f3"/>
                <a:gd name="f96" fmla="+- f94 0 f3"/>
                <a:gd name="f97" fmla="sin 1 f95"/>
                <a:gd name="f98" fmla="cos 1 f95"/>
                <a:gd name="f99" fmla="sin 1 f96"/>
                <a:gd name="f100" fmla="cos 1 f96"/>
                <a:gd name="f101" fmla="+- 0 0 f97"/>
                <a:gd name="f102" fmla="+- 0 0 f98"/>
                <a:gd name="f103" fmla="+- 0 0 f99"/>
                <a:gd name="f104" fmla="+- 0 0 f100"/>
                <a:gd name="f105" fmla="+- 0 0 f101"/>
                <a:gd name="f106" fmla="+- 0 0 f102"/>
                <a:gd name="f107" fmla="+- 0 0 f103"/>
                <a:gd name="f108" fmla="+- 0 0 f104"/>
                <a:gd name="f109" fmla="*/ f105 f57 1"/>
                <a:gd name="f110" fmla="*/ f106 f56 1"/>
                <a:gd name="f111" fmla="*/ f107 f57 1"/>
                <a:gd name="f112" fmla="*/ f108 f56 1"/>
                <a:gd name="f113" fmla="+- 0 0 f110"/>
                <a:gd name="f114" fmla="+- 0 0 f109"/>
                <a:gd name="f115" fmla="+- 0 0 f112"/>
                <a:gd name="f116" fmla="+- 0 0 f111"/>
                <a:gd name="f117" fmla="+- 0 0 f113"/>
                <a:gd name="f118" fmla="+- 0 0 f114"/>
                <a:gd name="f119" fmla="+- 0 0 f115"/>
                <a:gd name="f120" fmla="+- 0 0 f116"/>
                <a:gd name="f121" fmla="at2 f117 f118"/>
                <a:gd name="f122" fmla="at2 f119 f120"/>
                <a:gd name="f123" fmla="+- f121 f3 0"/>
                <a:gd name="f124" fmla="+- f122 f3 0"/>
                <a:gd name="f125" fmla="*/ f123 f10 1"/>
                <a:gd name="f126" fmla="*/ f124 f10 1"/>
                <a:gd name="f127" fmla="*/ f125 1 f2"/>
                <a:gd name="f128" fmla="*/ f126 1 f2"/>
                <a:gd name="f129" fmla="+- 0 0 f127"/>
                <a:gd name="f130" fmla="+- 0 0 f128"/>
                <a:gd name="f131" fmla="val f129"/>
                <a:gd name="f132" fmla="val f130"/>
                <a:gd name="f133" fmla="+- 0 0 f131"/>
                <a:gd name="f134" fmla="+- 0 0 f132"/>
                <a:gd name="f135" fmla="*/ f133 f2 1"/>
                <a:gd name="f136" fmla="*/ f134 f2 1"/>
                <a:gd name="f137" fmla="*/ f135 1 f10"/>
                <a:gd name="f138" fmla="*/ f136 1 f10"/>
                <a:gd name="f139" fmla="+- f137 0 f3"/>
                <a:gd name="f140" fmla="+- f138 0 f3"/>
                <a:gd name="f141" fmla="cos 1 f139"/>
                <a:gd name="f142" fmla="sin 1 f139"/>
                <a:gd name="f143" fmla="cos 1 f140"/>
                <a:gd name="f144" fmla="sin 1 f140"/>
                <a:gd name="f145" fmla="+- 0 0 f141"/>
                <a:gd name="f146" fmla="+- 0 0 f142"/>
                <a:gd name="f147" fmla="+- 0 0 f143"/>
                <a:gd name="f148" fmla="+- 0 0 f144"/>
                <a:gd name="f149" fmla="*/ f11 f145 1"/>
                <a:gd name="f150" fmla="*/ f11 f146 1"/>
                <a:gd name="f151" fmla="*/ f11 f147 1"/>
                <a:gd name="f152" fmla="*/ f11 f148 1"/>
                <a:gd name="f153" fmla="*/ f149 f57 1"/>
                <a:gd name="f154" fmla="*/ f150 f56 1"/>
                <a:gd name="f155" fmla="*/ f151 f57 1"/>
                <a:gd name="f156" fmla="*/ f152 f56 1"/>
                <a:gd name="f157" fmla="+- f69 f153 0"/>
                <a:gd name="f158" fmla="+- f68 f154 0"/>
                <a:gd name="f159" fmla="+- f69 f155 0"/>
                <a:gd name="f160" fmla="+- f68 f156 0"/>
                <a:gd name="f161" fmla="max f157 f159"/>
                <a:gd name="f162" fmla="max f158 f160"/>
                <a:gd name="f163" fmla="min f157 f159"/>
                <a:gd name="f164" fmla="min f158 f160"/>
                <a:gd name="f165" fmla="*/ f157 f43 1"/>
                <a:gd name="f166" fmla="*/ f158 f43 1"/>
                <a:gd name="f167" fmla="*/ f159 f43 1"/>
                <a:gd name="f168" fmla="*/ f160 f43 1"/>
                <a:gd name="f169" fmla="?: f85 f48 f161"/>
                <a:gd name="f170" fmla="?: f86 f49 f162"/>
                <a:gd name="f171" fmla="?: f87 f20 f163"/>
                <a:gd name="f172" fmla="?: f88 f20 f164"/>
                <a:gd name="f173" fmla="*/ f171 f43 1"/>
                <a:gd name="f174" fmla="*/ f172 f43 1"/>
                <a:gd name="f175" fmla="*/ f169 f43 1"/>
                <a:gd name="f176" fmla="*/ f17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0">
                  <a:pos x="f165" y="f166"/>
                </a:cxn>
                <a:cxn ang="f41">
                  <a:pos x="f81" y="f82"/>
                </a:cxn>
                <a:cxn ang="f42">
                  <a:pos x="f167" y="f168"/>
                </a:cxn>
              </a:cxnLst>
              <a:rect l="f173" t="f174" r="f175" b="f176"/>
              <a:pathLst>
                <a:path stroke="0">
                  <a:moveTo>
                    <a:pt x="f165" y="f166"/>
                  </a:moveTo>
                  <a:arcTo wR="f76" hR="f77" stAng="f54" swAng="f78"/>
                  <a:lnTo>
                    <a:pt x="f81" y="f82"/>
                  </a:lnTo>
                  <a:close/>
                </a:path>
                <a:path fill="none">
                  <a:moveTo>
                    <a:pt x="f165" y="f166"/>
                  </a:moveTo>
                  <a:arcTo wR="f76" hR="f77" stAng="f54" swAng="f78"/>
                </a:path>
              </a:pathLst>
            </a:custGeom>
            <a:noFill/>
            <a:ln w="12700" cap="rnd">
              <a:solidFill>
                <a:srgbClr val="65AC1E"/>
              </a:solidFill>
              <a:prstDash val="solid"/>
              <a:miter/>
            </a:ln>
          </p:spPr>
          <p:txBody>
            <a:bodyPr vert="horz" wrap="square" lIns="91430" tIns="45710" rIns="91430" bIns="45710" anchor="ctr" anchorCtr="1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Bogen 88">
              <a:extLst>
                <a:ext uri="{FF2B5EF4-FFF2-40B4-BE49-F238E27FC236}">
                  <a16:creationId xmlns:a16="http://schemas.microsoft.com/office/drawing/2014/main" id="{6C4E32D4-4CC1-459F-AA42-3AA77852F49E}"/>
                </a:ext>
              </a:extLst>
            </p:cNvPr>
            <p:cNvSpPr/>
            <p:nvPr/>
          </p:nvSpPr>
          <p:spPr>
            <a:xfrm rot="12868449">
              <a:off x="9176964" y="-580050"/>
              <a:ext cx="2355732" cy="2355732"/>
            </a:xfrm>
            <a:custGeom>
              <a:avLst>
                <a:gd name="f12" fmla="val 39"/>
                <a:gd name="f13" fmla="val 151"/>
              </a:avLst>
              <a:gdLst>
                <a:gd name="f2" fmla="val 10800000"/>
                <a:gd name="f3" fmla="val 5400000"/>
                <a:gd name="f4" fmla="val 16200000"/>
                <a:gd name="f5" fmla="val 180"/>
                <a:gd name="f6" fmla="val w"/>
                <a:gd name="f7" fmla="val h"/>
                <a:gd name="f8" fmla="val ss"/>
                <a:gd name="f9" fmla="val 0"/>
                <a:gd name="f10" fmla="*/ 5419351 1 1725033"/>
                <a:gd name="f11" fmla="+- 0 0 1"/>
                <a:gd name="f12" fmla="val 39"/>
                <a:gd name="f13" fmla="val 151"/>
                <a:gd name="f14" fmla="+- 0 0 -129"/>
                <a:gd name="f15" fmla="+- 0 0 -275"/>
                <a:gd name="f16" fmla="+- 0 0 -421"/>
                <a:gd name="f17" fmla="abs f6"/>
                <a:gd name="f18" fmla="abs f7"/>
                <a:gd name="f19" fmla="abs f8"/>
                <a:gd name="f20" fmla="val f9"/>
                <a:gd name="f21" fmla="+- 0 0 f12"/>
                <a:gd name="f22" fmla="+- 0 0 f13"/>
                <a:gd name="f23" fmla="*/ f14 f2 1"/>
                <a:gd name="f24" fmla="*/ f15 f2 1"/>
                <a:gd name="f25" fmla="*/ f16 f2 1"/>
                <a:gd name="f26" fmla="?: f17 f6 1"/>
                <a:gd name="f27" fmla="?: f18 f7 1"/>
                <a:gd name="f28" fmla="?: f19 f8 1"/>
                <a:gd name="f29" fmla="*/ f21 f2 1"/>
                <a:gd name="f30" fmla="*/ f22 f2 1"/>
                <a:gd name="f31" fmla="*/ f23 1 f5"/>
                <a:gd name="f32" fmla="*/ f24 1 f5"/>
                <a:gd name="f33" fmla="*/ f25 1 f5"/>
                <a:gd name="f34" fmla="*/ f26 1 21600"/>
                <a:gd name="f35" fmla="*/ f27 1 21600"/>
                <a:gd name="f36" fmla="*/ 21600 f26 1"/>
                <a:gd name="f37" fmla="*/ 21600 f27 1"/>
                <a:gd name="f38" fmla="*/ f29 1 f5"/>
                <a:gd name="f39" fmla="*/ f30 1 f5"/>
                <a:gd name="f40" fmla="+- f31 0 f3"/>
                <a:gd name="f41" fmla="+- f32 0 f3"/>
                <a:gd name="f42" fmla="+- f33 0 f3"/>
                <a:gd name="f43" fmla="min f35 f34"/>
                <a:gd name="f44" fmla="*/ f36 1 f28"/>
                <a:gd name="f45" fmla="*/ f37 1 f28"/>
                <a:gd name="f46" fmla="+- f38 0 f3"/>
                <a:gd name="f47" fmla="+- f39 0 f3"/>
                <a:gd name="f48" fmla="val f44"/>
                <a:gd name="f49" fmla="val f45"/>
                <a:gd name="f50" fmla="+- 0 0 f46"/>
                <a:gd name="f51" fmla="+- 0 0 f47"/>
                <a:gd name="f52" fmla="+- f49 0 f20"/>
                <a:gd name="f53" fmla="+- f48 0 f20"/>
                <a:gd name="f54" fmla="val f50"/>
                <a:gd name="f55" fmla="val f51"/>
                <a:gd name="f56" fmla="*/ f52 1 2"/>
                <a:gd name="f57" fmla="*/ f53 1 2"/>
                <a:gd name="f58" fmla="+- f55 0 f54"/>
                <a:gd name="f59" fmla="+- f54 f3 0"/>
                <a:gd name="f60" fmla="+- f55 f3 0"/>
                <a:gd name="f61" fmla="+- 21600000 0 f54"/>
                <a:gd name="f62" fmla="+- f3 0 f54"/>
                <a:gd name="f63" fmla="+- 27000000 0 f54"/>
                <a:gd name="f64" fmla="+- f2 0 f54"/>
                <a:gd name="f65" fmla="+- 32400000 0 f54"/>
                <a:gd name="f66" fmla="+- f4 0 f54"/>
                <a:gd name="f67" fmla="+- 37800000 0 f54"/>
                <a:gd name="f68" fmla="+- f20 f56 0"/>
                <a:gd name="f69" fmla="+- f20 f57 0"/>
                <a:gd name="f70" fmla="+- f58 21600000 0"/>
                <a:gd name="f71" fmla="*/ f59 f10 1"/>
                <a:gd name="f72" fmla="*/ f60 f10 1"/>
                <a:gd name="f73" fmla="?: f62 f62 f63"/>
                <a:gd name="f74" fmla="?: f64 f64 f65"/>
                <a:gd name="f75" fmla="?: f66 f66 f67"/>
                <a:gd name="f76" fmla="*/ f57 f43 1"/>
                <a:gd name="f77" fmla="*/ f56 f43 1"/>
                <a:gd name="f78" fmla="?: f58 f58 f70"/>
                <a:gd name="f79" fmla="*/ f71 1 f2"/>
                <a:gd name="f80" fmla="*/ f72 1 f2"/>
                <a:gd name="f81" fmla="*/ f69 f43 1"/>
                <a:gd name="f82" fmla="*/ f68 f43 1"/>
                <a:gd name="f83" fmla="+- 0 0 f79"/>
                <a:gd name="f84" fmla="+- 0 0 f80"/>
                <a:gd name="f85" fmla="+- f78 0 f61"/>
                <a:gd name="f86" fmla="+- f78 0 f73"/>
                <a:gd name="f87" fmla="+- f78 0 f74"/>
                <a:gd name="f88" fmla="+- f78 0 f75"/>
                <a:gd name="f89" fmla="+- 0 0 f83"/>
                <a:gd name="f90" fmla="+- 0 0 f84"/>
                <a:gd name="f91" fmla="*/ f89 f2 1"/>
                <a:gd name="f92" fmla="*/ f90 f2 1"/>
                <a:gd name="f93" fmla="*/ f91 1 f10"/>
                <a:gd name="f94" fmla="*/ f92 1 f10"/>
                <a:gd name="f95" fmla="+- f93 0 f3"/>
                <a:gd name="f96" fmla="+- f94 0 f3"/>
                <a:gd name="f97" fmla="sin 1 f95"/>
                <a:gd name="f98" fmla="cos 1 f95"/>
                <a:gd name="f99" fmla="sin 1 f96"/>
                <a:gd name="f100" fmla="cos 1 f96"/>
                <a:gd name="f101" fmla="+- 0 0 f97"/>
                <a:gd name="f102" fmla="+- 0 0 f98"/>
                <a:gd name="f103" fmla="+- 0 0 f99"/>
                <a:gd name="f104" fmla="+- 0 0 f100"/>
                <a:gd name="f105" fmla="+- 0 0 f101"/>
                <a:gd name="f106" fmla="+- 0 0 f102"/>
                <a:gd name="f107" fmla="+- 0 0 f103"/>
                <a:gd name="f108" fmla="+- 0 0 f104"/>
                <a:gd name="f109" fmla="*/ f105 f57 1"/>
                <a:gd name="f110" fmla="*/ f106 f56 1"/>
                <a:gd name="f111" fmla="*/ f107 f57 1"/>
                <a:gd name="f112" fmla="*/ f108 f56 1"/>
                <a:gd name="f113" fmla="+- 0 0 f110"/>
                <a:gd name="f114" fmla="+- 0 0 f109"/>
                <a:gd name="f115" fmla="+- 0 0 f112"/>
                <a:gd name="f116" fmla="+- 0 0 f111"/>
                <a:gd name="f117" fmla="+- 0 0 f113"/>
                <a:gd name="f118" fmla="+- 0 0 f114"/>
                <a:gd name="f119" fmla="+- 0 0 f115"/>
                <a:gd name="f120" fmla="+- 0 0 f116"/>
                <a:gd name="f121" fmla="at2 f117 f118"/>
                <a:gd name="f122" fmla="at2 f119 f120"/>
                <a:gd name="f123" fmla="+- f121 f3 0"/>
                <a:gd name="f124" fmla="+- f122 f3 0"/>
                <a:gd name="f125" fmla="*/ f123 f10 1"/>
                <a:gd name="f126" fmla="*/ f124 f10 1"/>
                <a:gd name="f127" fmla="*/ f125 1 f2"/>
                <a:gd name="f128" fmla="*/ f126 1 f2"/>
                <a:gd name="f129" fmla="+- 0 0 f127"/>
                <a:gd name="f130" fmla="+- 0 0 f128"/>
                <a:gd name="f131" fmla="val f129"/>
                <a:gd name="f132" fmla="val f130"/>
                <a:gd name="f133" fmla="+- 0 0 f131"/>
                <a:gd name="f134" fmla="+- 0 0 f132"/>
                <a:gd name="f135" fmla="*/ f133 f2 1"/>
                <a:gd name="f136" fmla="*/ f134 f2 1"/>
                <a:gd name="f137" fmla="*/ f135 1 f10"/>
                <a:gd name="f138" fmla="*/ f136 1 f10"/>
                <a:gd name="f139" fmla="+- f137 0 f3"/>
                <a:gd name="f140" fmla="+- f138 0 f3"/>
                <a:gd name="f141" fmla="cos 1 f139"/>
                <a:gd name="f142" fmla="sin 1 f139"/>
                <a:gd name="f143" fmla="cos 1 f140"/>
                <a:gd name="f144" fmla="sin 1 f140"/>
                <a:gd name="f145" fmla="+- 0 0 f141"/>
                <a:gd name="f146" fmla="+- 0 0 f142"/>
                <a:gd name="f147" fmla="+- 0 0 f143"/>
                <a:gd name="f148" fmla="+- 0 0 f144"/>
                <a:gd name="f149" fmla="*/ f11 f145 1"/>
                <a:gd name="f150" fmla="*/ f11 f146 1"/>
                <a:gd name="f151" fmla="*/ f11 f147 1"/>
                <a:gd name="f152" fmla="*/ f11 f148 1"/>
                <a:gd name="f153" fmla="*/ f149 f57 1"/>
                <a:gd name="f154" fmla="*/ f150 f56 1"/>
                <a:gd name="f155" fmla="*/ f151 f57 1"/>
                <a:gd name="f156" fmla="*/ f152 f56 1"/>
                <a:gd name="f157" fmla="+- f69 f153 0"/>
                <a:gd name="f158" fmla="+- f68 f154 0"/>
                <a:gd name="f159" fmla="+- f69 f155 0"/>
                <a:gd name="f160" fmla="+- f68 f156 0"/>
                <a:gd name="f161" fmla="max f157 f159"/>
                <a:gd name="f162" fmla="max f158 f160"/>
                <a:gd name="f163" fmla="min f157 f159"/>
                <a:gd name="f164" fmla="min f158 f160"/>
                <a:gd name="f165" fmla="*/ f157 f43 1"/>
                <a:gd name="f166" fmla="*/ f158 f43 1"/>
                <a:gd name="f167" fmla="*/ f159 f43 1"/>
                <a:gd name="f168" fmla="*/ f160 f43 1"/>
                <a:gd name="f169" fmla="?: f85 f48 f161"/>
                <a:gd name="f170" fmla="?: f86 f49 f162"/>
                <a:gd name="f171" fmla="?: f87 f20 f163"/>
                <a:gd name="f172" fmla="?: f88 f20 f164"/>
                <a:gd name="f173" fmla="*/ f171 f43 1"/>
                <a:gd name="f174" fmla="*/ f172 f43 1"/>
                <a:gd name="f175" fmla="*/ f169 f43 1"/>
                <a:gd name="f176" fmla="*/ f17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0">
                  <a:pos x="f165" y="f166"/>
                </a:cxn>
                <a:cxn ang="f41">
                  <a:pos x="f81" y="f82"/>
                </a:cxn>
                <a:cxn ang="f42">
                  <a:pos x="f167" y="f168"/>
                </a:cxn>
              </a:cxnLst>
              <a:rect l="f173" t="f174" r="f175" b="f176"/>
              <a:pathLst>
                <a:path stroke="0">
                  <a:moveTo>
                    <a:pt x="f165" y="f166"/>
                  </a:moveTo>
                  <a:arcTo wR="f76" hR="f77" stAng="f54" swAng="f78"/>
                  <a:lnTo>
                    <a:pt x="f81" y="f82"/>
                  </a:lnTo>
                  <a:close/>
                </a:path>
                <a:path fill="none">
                  <a:moveTo>
                    <a:pt x="f165" y="f166"/>
                  </a:moveTo>
                  <a:arcTo wR="f76" hR="f77" stAng="f54" swAng="f78"/>
                </a:path>
              </a:pathLst>
            </a:custGeom>
            <a:noFill/>
            <a:ln w="12700" cap="rnd">
              <a:solidFill>
                <a:srgbClr val="65AC1E"/>
              </a:solidFill>
              <a:prstDash val="solid"/>
              <a:miter/>
            </a:ln>
          </p:spPr>
          <p:txBody>
            <a:bodyPr vert="horz" wrap="square" lIns="91430" tIns="45710" rIns="91430" bIns="45710" anchor="ctr" anchorCtr="1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Bogen 109">
              <a:extLst>
                <a:ext uri="{FF2B5EF4-FFF2-40B4-BE49-F238E27FC236}">
                  <a16:creationId xmlns:a16="http://schemas.microsoft.com/office/drawing/2014/main" id="{5E7DCB13-C74A-4048-AC29-76B9363B2589}"/>
                </a:ext>
              </a:extLst>
            </p:cNvPr>
            <p:cNvSpPr/>
            <p:nvPr/>
          </p:nvSpPr>
          <p:spPr>
            <a:xfrm rot="12868449">
              <a:off x="9266194" y="-490825"/>
              <a:ext cx="2177268" cy="2177268"/>
            </a:xfrm>
            <a:custGeom>
              <a:avLst>
                <a:gd name="f12" fmla="val 121"/>
                <a:gd name="f13" fmla="val 72"/>
              </a:avLst>
              <a:gdLst>
                <a:gd name="f2" fmla="val 10800000"/>
                <a:gd name="f3" fmla="val 5400000"/>
                <a:gd name="f4" fmla="val 16200000"/>
                <a:gd name="f5" fmla="val 180"/>
                <a:gd name="f6" fmla="val w"/>
                <a:gd name="f7" fmla="val h"/>
                <a:gd name="f8" fmla="val ss"/>
                <a:gd name="f9" fmla="val 0"/>
                <a:gd name="f10" fmla="*/ 5419351 1 1725033"/>
                <a:gd name="f11" fmla="+- 0 0 1"/>
                <a:gd name="f12" fmla="val 121"/>
                <a:gd name="f13" fmla="val 72"/>
                <a:gd name="f14" fmla="+- 0 0 -211"/>
                <a:gd name="f15" fmla="+- 0 0 -276"/>
                <a:gd name="f16" fmla="+- 0 0 -342"/>
                <a:gd name="f17" fmla="abs f6"/>
                <a:gd name="f18" fmla="abs f7"/>
                <a:gd name="f19" fmla="abs f8"/>
                <a:gd name="f20" fmla="val f9"/>
                <a:gd name="f21" fmla="+- 0 0 f12"/>
                <a:gd name="f22" fmla="+- 0 0 f13"/>
                <a:gd name="f23" fmla="*/ f14 f2 1"/>
                <a:gd name="f24" fmla="*/ f15 f2 1"/>
                <a:gd name="f25" fmla="*/ f16 f2 1"/>
                <a:gd name="f26" fmla="?: f17 f6 1"/>
                <a:gd name="f27" fmla="?: f18 f7 1"/>
                <a:gd name="f28" fmla="?: f19 f8 1"/>
                <a:gd name="f29" fmla="*/ f21 f2 1"/>
                <a:gd name="f30" fmla="*/ f22 f2 1"/>
                <a:gd name="f31" fmla="*/ f23 1 f5"/>
                <a:gd name="f32" fmla="*/ f24 1 f5"/>
                <a:gd name="f33" fmla="*/ f25 1 f5"/>
                <a:gd name="f34" fmla="*/ f26 1 21600"/>
                <a:gd name="f35" fmla="*/ f27 1 21600"/>
                <a:gd name="f36" fmla="*/ 21600 f26 1"/>
                <a:gd name="f37" fmla="*/ 21600 f27 1"/>
                <a:gd name="f38" fmla="*/ f29 1 f5"/>
                <a:gd name="f39" fmla="*/ f30 1 f5"/>
                <a:gd name="f40" fmla="+- f31 0 f3"/>
                <a:gd name="f41" fmla="+- f32 0 f3"/>
                <a:gd name="f42" fmla="+- f33 0 f3"/>
                <a:gd name="f43" fmla="min f35 f34"/>
                <a:gd name="f44" fmla="*/ f36 1 f28"/>
                <a:gd name="f45" fmla="*/ f37 1 f28"/>
                <a:gd name="f46" fmla="+- f38 0 f3"/>
                <a:gd name="f47" fmla="+- f39 0 f3"/>
                <a:gd name="f48" fmla="val f44"/>
                <a:gd name="f49" fmla="val f45"/>
                <a:gd name="f50" fmla="+- 0 0 f46"/>
                <a:gd name="f51" fmla="+- 0 0 f47"/>
                <a:gd name="f52" fmla="+- f49 0 f20"/>
                <a:gd name="f53" fmla="+- f48 0 f20"/>
                <a:gd name="f54" fmla="val f50"/>
                <a:gd name="f55" fmla="val f51"/>
                <a:gd name="f56" fmla="*/ f52 1 2"/>
                <a:gd name="f57" fmla="*/ f53 1 2"/>
                <a:gd name="f58" fmla="+- f55 0 f54"/>
                <a:gd name="f59" fmla="+- f54 f3 0"/>
                <a:gd name="f60" fmla="+- f55 f3 0"/>
                <a:gd name="f61" fmla="+- 21600000 0 f54"/>
                <a:gd name="f62" fmla="+- f3 0 f54"/>
                <a:gd name="f63" fmla="+- 27000000 0 f54"/>
                <a:gd name="f64" fmla="+- f2 0 f54"/>
                <a:gd name="f65" fmla="+- 32400000 0 f54"/>
                <a:gd name="f66" fmla="+- f4 0 f54"/>
                <a:gd name="f67" fmla="+- 37800000 0 f54"/>
                <a:gd name="f68" fmla="+- f20 f56 0"/>
                <a:gd name="f69" fmla="+- f20 f57 0"/>
                <a:gd name="f70" fmla="+- f58 21600000 0"/>
                <a:gd name="f71" fmla="*/ f59 f10 1"/>
                <a:gd name="f72" fmla="*/ f60 f10 1"/>
                <a:gd name="f73" fmla="?: f62 f62 f63"/>
                <a:gd name="f74" fmla="?: f64 f64 f65"/>
                <a:gd name="f75" fmla="?: f66 f66 f67"/>
                <a:gd name="f76" fmla="*/ f57 f43 1"/>
                <a:gd name="f77" fmla="*/ f56 f43 1"/>
                <a:gd name="f78" fmla="?: f58 f58 f70"/>
                <a:gd name="f79" fmla="*/ f71 1 f2"/>
                <a:gd name="f80" fmla="*/ f72 1 f2"/>
                <a:gd name="f81" fmla="*/ f69 f43 1"/>
                <a:gd name="f82" fmla="*/ f68 f43 1"/>
                <a:gd name="f83" fmla="+- 0 0 f79"/>
                <a:gd name="f84" fmla="+- 0 0 f80"/>
                <a:gd name="f85" fmla="+- f78 0 f61"/>
                <a:gd name="f86" fmla="+- f78 0 f73"/>
                <a:gd name="f87" fmla="+- f78 0 f74"/>
                <a:gd name="f88" fmla="+- f78 0 f75"/>
                <a:gd name="f89" fmla="+- 0 0 f83"/>
                <a:gd name="f90" fmla="+- 0 0 f84"/>
                <a:gd name="f91" fmla="*/ f89 f2 1"/>
                <a:gd name="f92" fmla="*/ f90 f2 1"/>
                <a:gd name="f93" fmla="*/ f91 1 f10"/>
                <a:gd name="f94" fmla="*/ f92 1 f10"/>
                <a:gd name="f95" fmla="+- f93 0 f3"/>
                <a:gd name="f96" fmla="+- f94 0 f3"/>
                <a:gd name="f97" fmla="sin 1 f95"/>
                <a:gd name="f98" fmla="cos 1 f95"/>
                <a:gd name="f99" fmla="sin 1 f96"/>
                <a:gd name="f100" fmla="cos 1 f96"/>
                <a:gd name="f101" fmla="+- 0 0 f97"/>
                <a:gd name="f102" fmla="+- 0 0 f98"/>
                <a:gd name="f103" fmla="+- 0 0 f99"/>
                <a:gd name="f104" fmla="+- 0 0 f100"/>
                <a:gd name="f105" fmla="+- 0 0 f101"/>
                <a:gd name="f106" fmla="+- 0 0 f102"/>
                <a:gd name="f107" fmla="+- 0 0 f103"/>
                <a:gd name="f108" fmla="+- 0 0 f104"/>
                <a:gd name="f109" fmla="*/ f105 f57 1"/>
                <a:gd name="f110" fmla="*/ f106 f56 1"/>
                <a:gd name="f111" fmla="*/ f107 f57 1"/>
                <a:gd name="f112" fmla="*/ f108 f56 1"/>
                <a:gd name="f113" fmla="+- 0 0 f110"/>
                <a:gd name="f114" fmla="+- 0 0 f109"/>
                <a:gd name="f115" fmla="+- 0 0 f112"/>
                <a:gd name="f116" fmla="+- 0 0 f111"/>
                <a:gd name="f117" fmla="+- 0 0 f113"/>
                <a:gd name="f118" fmla="+- 0 0 f114"/>
                <a:gd name="f119" fmla="+- 0 0 f115"/>
                <a:gd name="f120" fmla="+- 0 0 f116"/>
                <a:gd name="f121" fmla="at2 f117 f118"/>
                <a:gd name="f122" fmla="at2 f119 f120"/>
                <a:gd name="f123" fmla="+- f121 f3 0"/>
                <a:gd name="f124" fmla="+- f122 f3 0"/>
                <a:gd name="f125" fmla="*/ f123 f10 1"/>
                <a:gd name="f126" fmla="*/ f124 f10 1"/>
                <a:gd name="f127" fmla="*/ f125 1 f2"/>
                <a:gd name="f128" fmla="*/ f126 1 f2"/>
                <a:gd name="f129" fmla="+- 0 0 f127"/>
                <a:gd name="f130" fmla="+- 0 0 f128"/>
                <a:gd name="f131" fmla="val f129"/>
                <a:gd name="f132" fmla="val f130"/>
                <a:gd name="f133" fmla="+- 0 0 f131"/>
                <a:gd name="f134" fmla="+- 0 0 f132"/>
                <a:gd name="f135" fmla="*/ f133 f2 1"/>
                <a:gd name="f136" fmla="*/ f134 f2 1"/>
                <a:gd name="f137" fmla="*/ f135 1 f10"/>
                <a:gd name="f138" fmla="*/ f136 1 f10"/>
                <a:gd name="f139" fmla="+- f137 0 f3"/>
                <a:gd name="f140" fmla="+- f138 0 f3"/>
                <a:gd name="f141" fmla="cos 1 f139"/>
                <a:gd name="f142" fmla="sin 1 f139"/>
                <a:gd name="f143" fmla="cos 1 f140"/>
                <a:gd name="f144" fmla="sin 1 f140"/>
                <a:gd name="f145" fmla="+- 0 0 f141"/>
                <a:gd name="f146" fmla="+- 0 0 f142"/>
                <a:gd name="f147" fmla="+- 0 0 f143"/>
                <a:gd name="f148" fmla="+- 0 0 f144"/>
                <a:gd name="f149" fmla="*/ f11 f145 1"/>
                <a:gd name="f150" fmla="*/ f11 f146 1"/>
                <a:gd name="f151" fmla="*/ f11 f147 1"/>
                <a:gd name="f152" fmla="*/ f11 f148 1"/>
                <a:gd name="f153" fmla="*/ f149 f57 1"/>
                <a:gd name="f154" fmla="*/ f150 f56 1"/>
                <a:gd name="f155" fmla="*/ f151 f57 1"/>
                <a:gd name="f156" fmla="*/ f152 f56 1"/>
                <a:gd name="f157" fmla="+- f69 f153 0"/>
                <a:gd name="f158" fmla="+- f68 f154 0"/>
                <a:gd name="f159" fmla="+- f69 f155 0"/>
                <a:gd name="f160" fmla="+- f68 f156 0"/>
                <a:gd name="f161" fmla="max f157 f159"/>
                <a:gd name="f162" fmla="max f158 f160"/>
                <a:gd name="f163" fmla="min f157 f159"/>
                <a:gd name="f164" fmla="min f158 f160"/>
                <a:gd name="f165" fmla="*/ f157 f43 1"/>
                <a:gd name="f166" fmla="*/ f158 f43 1"/>
                <a:gd name="f167" fmla="*/ f159 f43 1"/>
                <a:gd name="f168" fmla="*/ f160 f43 1"/>
                <a:gd name="f169" fmla="?: f85 f48 f161"/>
                <a:gd name="f170" fmla="?: f86 f49 f162"/>
                <a:gd name="f171" fmla="?: f87 f20 f163"/>
                <a:gd name="f172" fmla="?: f88 f20 f164"/>
                <a:gd name="f173" fmla="*/ f171 f43 1"/>
                <a:gd name="f174" fmla="*/ f172 f43 1"/>
                <a:gd name="f175" fmla="*/ f169 f43 1"/>
                <a:gd name="f176" fmla="*/ f17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0">
                  <a:pos x="f165" y="f166"/>
                </a:cxn>
                <a:cxn ang="f41">
                  <a:pos x="f81" y="f82"/>
                </a:cxn>
                <a:cxn ang="f42">
                  <a:pos x="f167" y="f168"/>
                </a:cxn>
              </a:cxnLst>
              <a:rect l="f173" t="f174" r="f175" b="f176"/>
              <a:pathLst>
                <a:path stroke="0">
                  <a:moveTo>
                    <a:pt x="f165" y="f166"/>
                  </a:moveTo>
                  <a:arcTo wR="f76" hR="f77" stAng="f54" swAng="f78"/>
                  <a:lnTo>
                    <a:pt x="f81" y="f82"/>
                  </a:lnTo>
                  <a:close/>
                </a:path>
                <a:path fill="none">
                  <a:moveTo>
                    <a:pt x="f165" y="f166"/>
                  </a:moveTo>
                  <a:arcTo wR="f76" hR="f77" stAng="f54" swAng="f78"/>
                </a:path>
              </a:pathLst>
            </a:custGeom>
            <a:noFill/>
            <a:ln w="12700" cap="rnd">
              <a:solidFill>
                <a:srgbClr val="00793A"/>
              </a:solidFill>
              <a:prstDash val="solid"/>
              <a:miter/>
            </a:ln>
          </p:spPr>
          <p:txBody>
            <a:bodyPr vert="horz" wrap="square" lIns="91430" tIns="45710" rIns="91430" bIns="45710" anchor="ctr" anchorCtr="1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Bogen 110">
              <a:extLst>
                <a:ext uri="{FF2B5EF4-FFF2-40B4-BE49-F238E27FC236}">
                  <a16:creationId xmlns:a16="http://schemas.microsoft.com/office/drawing/2014/main" id="{3438F1FD-14AC-46DA-BE48-40694DF0B4D9}"/>
                </a:ext>
              </a:extLst>
            </p:cNvPr>
            <p:cNvSpPr/>
            <p:nvPr/>
          </p:nvSpPr>
          <p:spPr>
            <a:xfrm rot="12868449">
              <a:off x="9008608" y="-748411"/>
              <a:ext cx="2692441" cy="2692441"/>
            </a:xfrm>
            <a:custGeom>
              <a:avLst>
                <a:gd name="f12" fmla="val 170"/>
                <a:gd name="f13" fmla="val 125"/>
              </a:avLst>
              <a:gdLst>
                <a:gd name="f2" fmla="val 10800000"/>
                <a:gd name="f3" fmla="val 5400000"/>
                <a:gd name="f4" fmla="val 16200000"/>
                <a:gd name="f5" fmla="val 180"/>
                <a:gd name="f6" fmla="val w"/>
                <a:gd name="f7" fmla="val h"/>
                <a:gd name="f8" fmla="val ss"/>
                <a:gd name="f9" fmla="val 0"/>
                <a:gd name="f10" fmla="*/ 5419351 1 1725033"/>
                <a:gd name="f11" fmla="+- 0 0 1"/>
                <a:gd name="f12" fmla="val 170"/>
                <a:gd name="f13" fmla="val 125"/>
                <a:gd name="f14" fmla="+- 0 0 -260"/>
                <a:gd name="f15" fmla="+- 0 0 -327"/>
                <a:gd name="f16" fmla="+- 0 0 -395"/>
                <a:gd name="f17" fmla="abs f6"/>
                <a:gd name="f18" fmla="abs f7"/>
                <a:gd name="f19" fmla="abs f8"/>
                <a:gd name="f20" fmla="val f9"/>
                <a:gd name="f21" fmla="+- 0 0 f12"/>
                <a:gd name="f22" fmla="+- 0 0 f13"/>
                <a:gd name="f23" fmla="*/ f14 f2 1"/>
                <a:gd name="f24" fmla="*/ f15 f2 1"/>
                <a:gd name="f25" fmla="*/ f16 f2 1"/>
                <a:gd name="f26" fmla="?: f17 f6 1"/>
                <a:gd name="f27" fmla="?: f18 f7 1"/>
                <a:gd name="f28" fmla="?: f19 f8 1"/>
                <a:gd name="f29" fmla="*/ f21 f2 1"/>
                <a:gd name="f30" fmla="*/ f22 f2 1"/>
                <a:gd name="f31" fmla="*/ f23 1 f5"/>
                <a:gd name="f32" fmla="*/ f24 1 f5"/>
                <a:gd name="f33" fmla="*/ f25 1 f5"/>
                <a:gd name="f34" fmla="*/ f26 1 21600"/>
                <a:gd name="f35" fmla="*/ f27 1 21600"/>
                <a:gd name="f36" fmla="*/ 21600 f26 1"/>
                <a:gd name="f37" fmla="*/ 21600 f27 1"/>
                <a:gd name="f38" fmla="*/ f29 1 f5"/>
                <a:gd name="f39" fmla="*/ f30 1 f5"/>
                <a:gd name="f40" fmla="+- f31 0 f3"/>
                <a:gd name="f41" fmla="+- f32 0 f3"/>
                <a:gd name="f42" fmla="+- f33 0 f3"/>
                <a:gd name="f43" fmla="min f35 f34"/>
                <a:gd name="f44" fmla="*/ f36 1 f28"/>
                <a:gd name="f45" fmla="*/ f37 1 f28"/>
                <a:gd name="f46" fmla="+- f38 0 f3"/>
                <a:gd name="f47" fmla="+- f39 0 f3"/>
                <a:gd name="f48" fmla="val f44"/>
                <a:gd name="f49" fmla="val f45"/>
                <a:gd name="f50" fmla="+- 0 0 f46"/>
                <a:gd name="f51" fmla="+- 0 0 f47"/>
                <a:gd name="f52" fmla="+- f49 0 f20"/>
                <a:gd name="f53" fmla="+- f48 0 f20"/>
                <a:gd name="f54" fmla="val f50"/>
                <a:gd name="f55" fmla="val f51"/>
                <a:gd name="f56" fmla="*/ f52 1 2"/>
                <a:gd name="f57" fmla="*/ f53 1 2"/>
                <a:gd name="f58" fmla="+- f55 0 f54"/>
                <a:gd name="f59" fmla="+- f54 f3 0"/>
                <a:gd name="f60" fmla="+- f55 f3 0"/>
                <a:gd name="f61" fmla="+- 21600000 0 f54"/>
                <a:gd name="f62" fmla="+- f3 0 f54"/>
                <a:gd name="f63" fmla="+- 27000000 0 f54"/>
                <a:gd name="f64" fmla="+- f2 0 f54"/>
                <a:gd name="f65" fmla="+- 32400000 0 f54"/>
                <a:gd name="f66" fmla="+- f4 0 f54"/>
                <a:gd name="f67" fmla="+- 37800000 0 f54"/>
                <a:gd name="f68" fmla="+- f20 f56 0"/>
                <a:gd name="f69" fmla="+- f20 f57 0"/>
                <a:gd name="f70" fmla="+- f58 21600000 0"/>
                <a:gd name="f71" fmla="*/ f59 f10 1"/>
                <a:gd name="f72" fmla="*/ f60 f10 1"/>
                <a:gd name="f73" fmla="?: f62 f62 f63"/>
                <a:gd name="f74" fmla="?: f64 f64 f65"/>
                <a:gd name="f75" fmla="?: f66 f66 f67"/>
                <a:gd name="f76" fmla="*/ f57 f43 1"/>
                <a:gd name="f77" fmla="*/ f56 f43 1"/>
                <a:gd name="f78" fmla="?: f58 f58 f70"/>
                <a:gd name="f79" fmla="*/ f71 1 f2"/>
                <a:gd name="f80" fmla="*/ f72 1 f2"/>
                <a:gd name="f81" fmla="*/ f69 f43 1"/>
                <a:gd name="f82" fmla="*/ f68 f43 1"/>
                <a:gd name="f83" fmla="+- 0 0 f79"/>
                <a:gd name="f84" fmla="+- 0 0 f80"/>
                <a:gd name="f85" fmla="+- f78 0 f61"/>
                <a:gd name="f86" fmla="+- f78 0 f73"/>
                <a:gd name="f87" fmla="+- f78 0 f74"/>
                <a:gd name="f88" fmla="+- f78 0 f75"/>
                <a:gd name="f89" fmla="+- 0 0 f83"/>
                <a:gd name="f90" fmla="+- 0 0 f84"/>
                <a:gd name="f91" fmla="*/ f89 f2 1"/>
                <a:gd name="f92" fmla="*/ f90 f2 1"/>
                <a:gd name="f93" fmla="*/ f91 1 f10"/>
                <a:gd name="f94" fmla="*/ f92 1 f10"/>
                <a:gd name="f95" fmla="+- f93 0 f3"/>
                <a:gd name="f96" fmla="+- f94 0 f3"/>
                <a:gd name="f97" fmla="sin 1 f95"/>
                <a:gd name="f98" fmla="cos 1 f95"/>
                <a:gd name="f99" fmla="sin 1 f96"/>
                <a:gd name="f100" fmla="cos 1 f96"/>
                <a:gd name="f101" fmla="+- 0 0 f97"/>
                <a:gd name="f102" fmla="+- 0 0 f98"/>
                <a:gd name="f103" fmla="+- 0 0 f99"/>
                <a:gd name="f104" fmla="+- 0 0 f100"/>
                <a:gd name="f105" fmla="+- 0 0 f101"/>
                <a:gd name="f106" fmla="+- 0 0 f102"/>
                <a:gd name="f107" fmla="+- 0 0 f103"/>
                <a:gd name="f108" fmla="+- 0 0 f104"/>
                <a:gd name="f109" fmla="*/ f105 f57 1"/>
                <a:gd name="f110" fmla="*/ f106 f56 1"/>
                <a:gd name="f111" fmla="*/ f107 f57 1"/>
                <a:gd name="f112" fmla="*/ f108 f56 1"/>
                <a:gd name="f113" fmla="+- 0 0 f110"/>
                <a:gd name="f114" fmla="+- 0 0 f109"/>
                <a:gd name="f115" fmla="+- 0 0 f112"/>
                <a:gd name="f116" fmla="+- 0 0 f111"/>
                <a:gd name="f117" fmla="+- 0 0 f113"/>
                <a:gd name="f118" fmla="+- 0 0 f114"/>
                <a:gd name="f119" fmla="+- 0 0 f115"/>
                <a:gd name="f120" fmla="+- 0 0 f116"/>
                <a:gd name="f121" fmla="at2 f117 f118"/>
                <a:gd name="f122" fmla="at2 f119 f120"/>
                <a:gd name="f123" fmla="+- f121 f3 0"/>
                <a:gd name="f124" fmla="+- f122 f3 0"/>
                <a:gd name="f125" fmla="*/ f123 f10 1"/>
                <a:gd name="f126" fmla="*/ f124 f10 1"/>
                <a:gd name="f127" fmla="*/ f125 1 f2"/>
                <a:gd name="f128" fmla="*/ f126 1 f2"/>
                <a:gd name="f129" fmla="+- 0 0 f127"/>
                <a:gd name="f130" fmla="+- 0 0 f128"/>
                <a:gd name="f131" fmla="val f129"/>
                <a:gd name="f132" fmla="val f130"/>
                <a:gd name="f133" fmla="+- 0 0 f131"/>
                <a:gd name="f134" fmla="+- 0 0 f132"/>
                <a:gd name="f135" fmla="*/ f133 f2 1"/>
                <a:gd name="f136" fmla="*/ f134 f2 1"/>
                <a:gd name="f137" fmla="*/ f135 1 f10"/>
                <a:gd name="f138" fmla="*/ f136 1 f10"/>
                <a:gd name="f139" fmla="+- f137 0 f3"/>
                <a:gd name="f140" fmla="+- f138 0 f3"/>
                <a:gd name="f141" fmla="cos 1 f139"/>
                <a:gd name="f142" fmla="sin 1 f139"/>
                <a:gd name="f143" fmla="cos 1 f140"/>
                <a:gd name="f144" fmla="sin 1 f140"/>
                <a:gd name="f145" fmla="+- 0 0 f141"/>
                <a:gd name="f146" fmla="+- 0 0 f142"/>
                <a:gd name="f147" fmla="+- 0 0 f143"/>
                <a:gd name="f148" fmla="+- 0 0 f144"/>
                <a:gd name="f149" fmla="*/ f11 f145 1"/>
                <a:gd name="f150" fmla="*/ f11 f146 1"/>
                <a:gd name="f151" fmla="*/ f11 f147 1"/>
                <a:gd name="f152" fmla="*/ f11 f148 1"/>
                <a:gd name="f153" fmla="*/ f149 f57 1"/>
                <a:gd name="f154" fmla="*/ f150 f56 1"/>
                <a:gd name="f155" fmla="*/ f151 f57 1"/>
                <a:gd name="f156" fmla="*/ f152 f56 1"/>
                <a:gd name="f157" fmla="+- f69 f153 0"/>
                <a:gd name="f158" fmla="+- f68 f154 0"/>
                <a:gd name="f159" fmla="+- f69 f155 0"/>
                <a:gd name="f160" fmla="+- f68 f156 0"/>
                <a:gd name="f161" fmla="max f157 f159"/>
                <a:gd name="f162" fmla="max f158 f160"/>
                <a:gd name="f163" fmla="min f157 f159"/>
                <a:gd name="f164" fmla="min f158 f160"/>
                <a:gd name="f165" fmla="*/ f157 f43 1"/>
                <a:gd name="f166" fmla="*/ f158 f43 1"/>
                <a:gd name="f167" fmla="*/ f159 f43 1"/>
                <a:gd name="f168" fmla="*/ f160 f43 1"/>
                <a:gd name="f169" fmla="?: f85 f48 f161"/>
                <a:gd name="f170" fmla="?: f86 f49 f162"/>
                <a:gd name="f171" fmla="?: f87 f20 f163"/>
                <a:gd name="f172" fmla="?: f88 f20 f164"/>
                <a:gd name="f173" fmla="*/ f171 f43 1"/>
                <a:gd name="f174" fmla="*/ f172 f43 1"/>
                <a:gd name="f175" fmla="*/ f169 f43 1"/>
                <a:gd name="f176" fmla="*/ f170 f43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0">
                  <a:pos x="f165" y="f166"/>
                </a:cxn>
                <a:cxn ang="f41">
                  <a:pos x="f81" y="f82"/>
                </a:cxn>
                <a:cxn ang="f42">
                  <a:pos x="f167" y="f168"/>
                </a:cxn>
              </a:cxnLst>
              <a:rect l="f173" t="f174" r="f175" b="f176"/>
              <a:pathLst>
                <a:path stroke="0">
                  <a:moveTo>
                    <a:pt x="f165" y="f166"/>
                  </a:moveTo>
                  <a:arcTo wR="f76" hR="f77" stAng="f54" swAng="f78"/>
                  <a:lnTo>
                    <a:pt x="f81" y="f82"/>
                  </a:lnTo>
                  <a:close/>
                </a:path>
                <a:path fill="none">
                  <a:moveTo>
                    <a:pt x="f165" y="f166"/>
                  </a:moveTo>
                  <a:arcTo wR="f76" hR="f77" stAng="f54" swAng="f78"/>
                </a:path>
              </a:pathLst>
            </a:custGeom>
            <a:noFill/>
            <a:ln w="12700" cap="rnd">
              <a:solidFill>
                <a:srgbClr val="004A96"/>
              </a:solidFill>
              <a:prstDash val="solid"/>
              <a:miter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29" name="Kép 28">
            <a:extLst>
              <a:ext uri="{FF2B5EF4-FFF2-40B4-BE49-F238E27FC236}">
                <a16:creationId xmlns:a16="http://schemas.microsoft.com/office/drawing/2014/main" id="{D4F51D19-472E-4B9F-8A9F-25E306FC10F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88026" y="141573"/>
            <a:ext cx="2205914" cy="2284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285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6p_ty5SAmjaAAcRvhS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PBGUfiTwWCI1m5cRlx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3Crk5PQziA.ZA7XCju4A"/>
</p:tagLst>
</file>

<file path=ppt/theme/theme1.xml><?xml version="1.0" encoding="utf-8"?>
<a:theme xmlns:a="http://schemas.openxmlformats.org/drawingml/2006/main" name="BASF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F" id="{725FE41A-792F-432C-B93F-25ED23A97D07}" vid="{32C09C63-FE1F-4DA2-BF9B-32FE81185EE3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3</Words>
  <Application>Microsoft Office PowerPoint</Application>
  <PresentationFormat>Szélesvásznú</PresentationFormat>
  <Paragraphs>6</Paragraphs>
  <Slides>2</Slides>
  <Notes>1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2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2</vt:i4>
      </vt:variant>
    </vt:vector>
  </HeadingPairs>
  <TitlesOfParts>
    <vt:vector size="6" baseType="lpstr">
      <vt:lpstr>Arial</vt:lpstr>
      <vt:lpstr>Calibri</vt:lpstr>
      <vt:lpstr>BASF</vt:lpstr>
      <vt:lpstr>think-cell Folie</vt:lpstr>
      <vt:lpstr>BASF almavédelmi technológia 2023</vt:lpstr>
      <vt:lpstr>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SF almavédelmi technológia 2023</dc:title>
  <dc:creator>mate.bereczki@basf.com</dc:creator>
  <cp:lastModifiedBy>mate.bereczki@basf.com</cp:lastModifiedBy>
  <cp:revision>1</cp:revision>
  <dcterms:created xsi:type="dcterms:W3CDTF">2023-03-14T14:37:01Z</dcterms:created>
  <dcterms:modified xsi:type="dcterms:W3CDTF">2023-03-14T14:37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6530cf4-8573-4c29-a912-bbcdac835909_Enabled">
    <vt:lpwstr>true</vt:lpwstr>
  </property>
  <property fmtid="{D5CDD505-2E9C-101B-9397-08002B2CF9AE}" pid="3" name="MSIP_Label_06530cf4-8573-4c29-a912-bbcdac835909_SetDate">
    <vt:lpwstr>2023-03-14T14:37:48Z</vt:lpwstr>
  </property>
  <property fmtid="{D5CDD505-2E9C-101B-9397-08002B2CF9AE}" pid="4" name="MSIP_Label_06530cf4-8573-4c29-a912-bbcdac835909_Method">
    <vt:lpwstr>Standard</vt:lpwstr>
  </property>
  <property fmtid="{D5CDD505-2E9C-101B-9397-08002B2CF9AE}" pid="5" name="MSIP_Label_06530cf4-8573-4c29-a912-bbcdac835909_Name">
    <vt:lpwstr>06530cf4-8573-4c29-a912-bbcdac835909</vt:lpwstr>
  </property>
  <property fmtid="{D5CDD505-2E9C-101B-9397-08002B2CF9AE}" pid="6" name="MSIP_Label_06530cf4-8573-4c29-a912-bbcdac835909_SiteId">
    <vt:lpwstr>ecaa386b-c8df-4ce0-ad01-740cbdb5ba55</vt:lpwstr>
  </property>
  <property fmtid="{D5CDD505-2E9C-101B-9397-08002B2CF9AE}" pid="7" name="MSIP_Label_06530cf4-8573-4c29-a912-bbcdac835909_ActionId">
    <vt:lpwstr>edd284a4-7499-40d9-989a-9c2628d69304</vt:lpwstr>
  </property>
  <property fmtid="{D5CDD505-2E9C-101B-9397-08002B2CF9AE}" pid="8" name="MSIP_Label_06530cf4-8573-4c29-a912-bbcdac835909_ContentBits">
    <vt:lpwstr>2</vt:lpwstr>
  </property>
</Properties>
</file>